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427" r:id="rId5"/>
    <p:sldId id="440" r:id="rId6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3" userDrawn="1">
          <p15:clr>
            <a:srgbClr val="A4A3A4"/>
          </p15:clr>
        </p15:guide>
        <p15:guide id="2" orient="horz" pos="255" userDrawn="1">
          <p15:clr>
            <a:srgbClr val="A4A3A4"/>
          </p15:clr>
        </p15:guide>
        <p15:guide id="3" orient="horz" pos="1041" userDrawn="1">
          <p15:clr>
            <a:srgbClr val="A4A3A4"/>
          </p15:clr>
        </p15:guide>
        <p15:guide id="4" pos="3749" userDrawn="1">
          <p15:clr>
            <a:srgbClr val="A4A3A4"/>
          </p15:clr>
        </p15:guide>
        <p15:guide id="5" pos="7379" userDrawn="1">
          <p15:clr>
            <a:srgbClr val="A4A3A4"/>
          </p15:clr>
        </p15:guide>
        <p15:guide id="6" pos="3931" userDrawn="1">
          <p15:clr>
            <a:srgbClr val="A4A3A4"/>
          </p15:clr>
        </p15:guide>
        <p15:guide id="7" pos="302" userDrawn="1">
          <p15:clr>
            <a:srgbClr val="A4A3A4"/>
          </p15:clr>
        </p15:guide>
        <p15:guide id="8" pos="2715" userDrawn="1">
          <p15:clr>
            <a:srgbClr val="A4A3A4"/>
          </p15:clr>
        </p15:guide>
        <p15:guide id="9" pos="51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scha" initials="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E00"/>
    <a:srgbClr val="F7F5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844" autoAdjust="0"/>
    <p:restoredTop sz="95670" autoAdjust="0"/>
  </p:normalViewPr>
  <p:slideViewPr>
    <p:cSldViewPr snapToGrid="0" showGuides="1">
      <p:cViewPr varScale="1">
        <p:scale>
          <a:sx n="122" d="100"/>
          <a:sy n="122" d="100"/>
        </p:scale>
        <p:origin x="102" y="-324"/>
      </p:cViewPr>
      <p:guideLst>
        <p:guide orient="horz" pos="3793"/>
        <p:guide orient="horz" pos="255"/>
        <p:guide orient="horz" pos="1041"/>
        <p:guide pos="3749"/>
        <p:guide pos="7379"/>
        <p:guide pos="3931"/>
        <p:guide pos="302"/>
        <p:guide pos="2715"/>
        <p:guide pos="51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30" d="100"/>
          <a:sy n="130" d="100"/>
        </p:scale>
        <p:origin x="2992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6C6B04-9E6D-40DE-8EA1-B9649BC90B14}" type="datetimeFigureOut">
              <a:rPr lang="de-DE" smtClean="0"/>
              <a:t>29.10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DF67D7-BA63-4A6B-994A-F20B402AACC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730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39116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381000" y="8729027"/>
            <a:ext cx="2971800" cy="2524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505200" y="8729027"/>
            <a:ext cx="2971800" cy="2524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D7922080-6DDB-4DAF-821D-ECA13D29AB1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7249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1219170" rtl="0" eaLnBrk="1" latinLnBrk="0" hangingPunct="1">
      <a:buFontTx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41200" indent="-241200" algn="l" defTabSz="1219170" rtl="0" eaLnBrk="1" latinLnBrk="0" hangingPunct="1">
      <a:buClr>
        <a:schemeClr val="accent4">
          <a:lumMod val="60000"/>
          <a:lumOff val="40000"/>
        </a:schemeClr>
      </a:buClr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41200" indent="-241200" algn="l" defTabSz="1219170" rtl="0" eaLnBrk="1" latinLnBrk="0" hangingPunct="1">
      <a:buClr>
        <a:schemeClr val="accent4">
          <a:lumMod val="60000"/>
          <a:lumOff val="40000"/>
        </a:schemeClr>
      </a:buClr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41200" indent="-241200" algn="l" defTabSz="1219170" rtl="0" eaLnBrk="1" latinLnBrk="0" hangingPunct="1">
      <a:buClr>
        <a:schemeClr val="accent4">
          <a:lumMod val="60000"/>
          <a:lumOff val="40000"/>
        </a:schemeClr>
      </a:buClr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41200" indent="-241200" algn="l" defTabSz="1219170" rtl="0" eaLnBrk="1" latinLnBrk="0" hangingPunct="1">
      <a:buClr>
        <a:schemeClr val="accent4">
          <a:lumMod val="60000"/>
          <a:lumOff val="40000"/>
        </a:schemeClr>
      </a:buClr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90525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22080-6DDB-4DAF-821D-ECA13D29AB1F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84414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6" y="1460940"/>
            <a:ext cx="3841436" cy="113996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78366" y="2650967"/>
            <a:ext cx="3311999" cy="8740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43606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4969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5" y="1460941"/>
            <a:ext cx="5761651" cy="160801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78365" y="3140969"/>
            <a:ext cx="5761651" cy="8740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92742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7880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9425" y="377740"/>
            <a:ext cx="11232571" cy="99903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9426" y="1592263"/>
            <a:ext cx="11233150" cy="4429125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4772643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9425" y="377740"/>
            <a:ext cx="11232571" cy="99903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9425" y="1592263"/>
            <a:ext cx="5472113" cy="4429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6240463" y="1592263"/>
            <a:ext cx="5472112" cy="4429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8099141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79425" y="476672"/>
            <a:ext cx="11233150" cy="5544716"/>
          </a:xfrm>
          <a:prstGeom prst="rect">
            <a:avLst/>
          </a:prstGeom>
          <a:noFill/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95180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9425" y="377740"/>
            <a:ext cx="11232571" cy="99903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8116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15260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682045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mpower - DO NOT DELETE!!!" hidden="1"/>
          <p:cNvSpPr>
            <a:spLocks/>
          </p:cNvSpPr>
          <p:nvPr userDrawn="1">
            <p:custDataLst>
              <p:tags r:id="rId1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290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8" r:id="rId4"/>
    <p:sldLayoutId id="2147483673" r:id="rId5"/>
    <p:sldLayoutId id="2147483654" r:id="rId6"/>
    <p:sldLayoutId id="2147483655" r:id="rId7"/>
  </p:sldLayoutIdLst>
  <p:hf hdr="0" dt="0"/>
  <p:txStyles>
    <p:titleStyle>
      <a:lvl1pPr algn="l" defTabSz="1219170" rtl="0" eaLnBrk="1" latinLnBrk="0" hangingPunct="1">
        <a:lnSpc>
          <a:spcPts val="3270"/>
        </a:lnSpc>
        <a:spcBef>
          <a:spcPct val="0"/>
        </a:spcBef>
        <a:buNone/>
        <a:defRPr sz="30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9994" indent="-239994" algn="l" defTabSz="1219170" rtl="0" eaLnBrk="1" latinLnBrk="0" hangingPunct="1">
        <a:lnSpc>
          <a:spcPct val="107000"/>
        </a:lnSpc>
        <a:spcBef>
          <a:spcPts val="1000"/>
        </a:spcBef>
        <a:buClr>
          <a:schemeClr val="accent4">
            <a:lumMod val="60000"/>
            <a:lumOff val="40000"/>
          </a:schemeClr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79988" indent="-239994" algn="l" defTabSz="1219170" rtl="0" eaLnBrk="1" latinLnBrk="0" hangingPunct="1">
        <a:lnSpc>
          <a:spcPct val="107000"/>
        </a:lnSpc>
        <a:spcBef>
          <a:spcPts val="600"/>
        </a:spcBef>
        <a:buClr>
          <a:schemeClr val="bg1">
            <a:lumMod val="65000"/>
          </a:schemeClr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9982" indent="-239994" algn="l" defTabSz="1219170" rtl="0" eaLnBrk="1" latinLnBrk="0" hangingPunct="1">
        <a:spcBef>
          <a:spcPts val="600"/>
        </a:spcBef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59976" indent="-239994" algn="l" defTabSz="1219170" rtl="0" eaLnBrk="1" latinLnBrk="0" hangingPunct="1">
        <a:spcBef>
          <a:spcPts val="600"/>
        </a:spcBef>
        <a:buClr>
          <a:schemeClr val="bg1">
            <a:lumMod val="65000"/>
          </a:schemeClr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99970" indent="-239994" algn="l" defTabSz="1219170" rtl="0" eaLnBrk="1" latinLnBrk="0" hangingPunct="1">
        <a:spcBef>
          <a:spcPts val="600"/>
        </a:spcBef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3" userDrawn="1">
          <p15:clr>
            <a:srgbClr val="F26B43"/>
          </p15:clr>
        </p15:guide>
        <p15:guide id="2" pos="3749" userDrawn="1">
          <p15:clr>
            <a:srgbClr val="F26B43"/>
          </p15:clr>
        </p15:guide>
        <p15:guide id="3" pos="3931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302" userDrawn="1">
          <p15:clr>
            <a:srgbClr val="F26B43"/>
          </p15:clr>
        </p15:guide>
        <p15:guide id="6" orient="horz" pos="37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1932970" y="1460942"/>
            <a:ext cx="8194878" cy="1421462"/>
          </a:xfrm>
        </p:spPr>
        <p:txBody>
          <a:bodyPr/>
          <a:lstStyle/>
          <a:p>
            <a:pPr algn="ctr"/>
            <a:r>
              <a:rPr lang="en-150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K</a:t>
            </a:r>
            <a:r>
              <a:rPr lang="fr-FR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e</a:t>
            </a:r>
            <a:r>
              <a:rPr lang="en-150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n</a:t>
            </a:r>
            <a:r>
              <a:rPr lang="fr-FR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t</a:t>
            </a:r>
            <a:r>
              <a:rPr lang="en-150" dirty="0" err="1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i</a:t>
            </a:r>
            <a:r>
              <a:rPr lang="fr-FR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v</a:t>
            </a:r>
            <a:r>
              <a:rPr lang="en-150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o-</a:t>
            </a:r>
            <a:r>
              <a:rPr lang="fr-FR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P</a:t>
            </a:r>
            <a:r>
              <a:rPr lang="en-150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a</a:t>
            </a:r>
            <a:r>
              <a:rPr lang="fr-FR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r</a:t>
            </a:r>
            <a:r>
              <a:rPr lang="en-150" dirty="0" err="1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i</a:t>
            </a:r>
            <a:r>
              <a:rPr lang="fr-FR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c</a:t>
            </a:r>
            <a:r>
              <a:rPr lang="en-150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o</a:t>
            </a:r>
            <a:r>
              <a:rPr lang="fr-FR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n</a:t>
            </a:r>
            <a:br>
              <a:rPr lang="en-US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</a:br>
            <a:r>
              <a:rPr lang="en-US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Weekly Status</a:t>
            </a:r>
            <a:br>
              <a:rPr lang="en-US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</a:br>
            <a:r>
              <a:rPr lang="en-150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“</a:t>
            </a:r>
            <a:r>
              <a:rPr lang="de-DE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29.10.19</a:t>
            </a:r>
            <a:r>
              <a:rPr lang="en-150" dirty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rPr>
              <a:t>”</a:t>
            </a:r>
            <a:endParaRPr lang="en-US" sz="2800" noProof="0" dirty="0"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6" name="Subtitle 1"/>
          <p:cNvSpPr txBox="1">
            <a:spLocks/>
          </p:cNvSpPr>
          <p:nvPr/>
        </p:nvSpPr>
        <p:spPr>
          <a:xfrm>
            <a:off x="1950333" y="3857096"/>
            <a:ext cx="8160152" cy="14548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609585" indent="0" algn="ctr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170" indent="0" algn="ctr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754" indent="0" algn="ctr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339" indent="0" algn="ctr" defTabSz="1219170" rtl="0" eaLnBrk="1" latinLnBrk="0" hangingPunct="1">
              <a:spcBef>
                <a:spcPts val="6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7924" indent="0" algn="ctr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509" indent="0" algn="ctr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093" indent="0" algn="ctr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678" indent="0" algn="ctr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dirty="0">
                <a:latin typeface="Avenir Book" charset="0"/>
                <a:ea typeface="Avenir Book" charset="0"/>
                <a:cs typeface="Avenir Book" charset="0"/>
              </a:rPr>
              <a:t>Prepared by </a:t>
            </a:r>
            <a:r>
              <a:rPr lang="de-DE" b="0" dirty="0">
                <a:latin typeface="Avenir Book" charset="0"/>
                <a:ea typeface="Avenir Book" charset="0"/>
                <a:cs typeface="Avenir Book" charset="0"/>
              </a:rPr>
              <a:t>Emanuel Mak</a:t>
            </a:r>
          </a:p>
          <a:p>
            <a:pPr algn="ctr"/>
            <a:r>
              <a:rPr lang="de-DE" b="0" dirty="0" err="1">
                <a:latin typeface="Avenir Book" charset="0"/>
                <a:ea typeface="Avenir Book" charset="0"/>
                <a:cs typeface="Avenir Book" charset="0"/>
              </a:rPr>
              <a:t>Reviewd</a:t>
            </a:r>
            <a:r>
              <a:rPr lang="de-DE" b="0" dirty="0">
                <a:latin typeface="Avenir Book" charset="0"/>
                <a:ea typeface="Avenir Book" charset="0"/>
                <a:cs typeface="Avenir Book" charset="0"/>
              </a:rPr>
              <a:t> </a:t>
            </a:r>
            <a:r>
              <a:rPr lang="de-DE" b="0" dirty="0" err="1">
                <a:latin typeface="Avenir Book" charset="0"/>
                <a:ea typeface="Avenir Book" charset="0"/>
                <a:cs typeface="Avenir Book" charset="0"/>
              </a:rPr>
              <a:t>by</a:t>
            </a:r>
            <a:r>
              <a:rPr lang="de-DE" b="0" dirty="0">
                <a:latin typeface="Avenir Book" charset="0"/>
                <a:ea typeface="Avenir Book" charset="0"/>
                <a:cs typeface="Avenir Book" charset="0"/>
              </a:rPr>
              <a:t> Konstantin Brandl</a:t>
            </a:r>
            <a:endParaRPr lang="en-US" b="0" dirty="0">
              <a:latin typeface="Avenir Book" charset="0"/>
              <a:ea typeface="Avenir Book" charset="0"/>
              <a:cs typeface="Avenir Book" charset="0"/>
            </a:endParaRPr>
          </a:p>
          <a:p>
            <a:pPr algn="ctr"/>
            <a:endParaRPr lang="en-US" b="0" dirty="0">
              <a:latin typeface="Avenir Book" charset="0"/>
              <a:ea typeface="Avenir Book" charset="0"/>
              <a:cs typeface="Avenir Book" charset="0"/>
            </a:endParaRPr>
          </a:p>
          <a:p>
            <a:pPr algn="ctr"/>
            <a:endParaRPr lang="en-US" b="0" dirty="0">
              <a:latin typeface="Avenir Book" charset="0"/>
              <a:ea typeface="Avenir Book" charset="0"/>
              <a:cs typeface="Avenir Book" charset="0"/>
            </a:endParaRPr>
          </a:p>
          <a:p>
            <a:pPr algn="ctr"/>
            <a:endParaRPr lang="en-US" b="0" dirty="0">
              <a:latin typeface="Avenir Book" charset="0"/>
              <a:ea typeface="Avenir Book" charset="0"/>
              <a:cs typeface="Avenir Book" charset="0"/>
            </a:endParaRPr>
          </a:p>
          <a:p>
            <a:pPr algn="ctr"/>
            <a:endParaRPr lang="en-US" b="0" dirty="0">
              <a:latin typeface="Avenir Book" charset="0"/>
              <a:ea typeface="Avenir Book" charset="0"/>
              <a:cs typeface="Avenir Book" charset="0"/>
            </a:endParaRPr>
          </a:p>
        </p:txBody>
      </p:sp>
      <p:pic>
        <p:nvPicPr>
          <p:cNvPr id="5" name="Picture 4" descr="A drawing of a person&#10;&#10;Description automatically generated">
            <a:extLst>
              <a:ext uri="{FF2B5EF4-FFF2-40B4-BE49-F238E27FC236}">
                <a16:creationId xmlns:a16="http://schemas.microsoft.com/office/drawing/2014/main" id="{F12F1BBC-444F-4991-8629-ED34CF1502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044" y="1388932"/>
            <a:ext cx="1226926" cy="1287892"/>
          </a:xfrm>
          <a:prstGeom prst="rect">
            <a:avLst/>
          </a:prstGeom>
        </p:spPr>
      </p:pic>
      <p:pic>
        <p:nvPicPr>
          <p:cNvPr id="8" name="Bild 7" descr="paricon_logo.png">
            <a:extLst>
              <a:ext uri="{FF2B5EF4-FFF2-40B4-BE49-F238E27FC236}">
                <a16:creationId xmlns:a16="http://schemas.microsoft.com/office/drawing/2014/main" id="{7FF25EED-486E-4662-B152-8E991542881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245" y="1460942"/>
            <a:ext cx="1747711" cy="824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8139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4122552" y="2827488"/>
            <a:ext cx="7544566" cy="984885"/>
          </a:xfrm>
          <a:prstGeom prst="rect">
            <a:avLst/>
          </a:prstGeom>
          <a:solidFill>
            <a:srgbClr val="F7F5B8"/>
          </a:solidFill>
        </p:spPr>
        <p:txBody>
          <a:bodyPr wrap="none" rtlCol="0">
            <a:spAutoFit/>
          </a:bodyPr>
          <a:lstStyle/>
          <a:p>
            <a:pPr marL="171450" indent="-171450" defTabSz="914400">
              <a:spcAft>
                <a:spcPts val="600"/>
              </a:spcAft>
              <a:buFont typeface="Wingdings" charset="2"/>
              <a:buChar char="§"/>
              <a:defRPr/>
            </a:pPr>
            <a:r>
              <a:rPr lang="en-US" sz="1600">
                <a:latin typeface="Avenir Book" charset="0"/>
                <a:ea typeface="Avenir Book" charset="0"/>
                <a:cs typeface="Avenir Book" charset="0"/>
              </a:rPr>
              <a:t>MIF: RU confirmed, BE/LUX 80% confirmed , HU/FR expected response today </a:t>
            </a:r>
          </a:p>
          <a:p>
            <a:pPr marL="171450" indent="-171450" defTabSz="914400">
              <a:spcAft>
                <a:spcPts val="600"/>
              </a:spcAft>
              <a:buFont typeface="Wingdings" charset="2"/>
              <a:buChar char="§"/>
              <a:defRPr/>
            </a:pPr>
            <a:r>
              <a:rPr lang="en-US" sz="1600">
                <a:latin typeface="Avenir Book" charset="0"/>
                <a:ea typeface="Avenir Book" charset="0"/>
                <a:cs typeface="Avenir Book" charset="0"/>
              </a:rPr>
              <a:t>MIF next wave is on Oct 11 - E1 (FI, DK, SWE) </a:t>
            </a:r>
          </a:p>
          <a:p>
            <a:endParaRPr lang="en-US" sz="1600"/>
          </a:p>
        </p:txBody>
      </p:sp>
      <p:graphicFrame>
        <p:nvGraphicFramePr>
          <p:cNvPr id="5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5909137"/>
              </p:ext>
            </p:extLst>
          </p:nvPr>
        </p:nvGraphicFramePr>
        <p:xfrm>
          <a:off x="0" y="1745318"/>
          <a:ext cx="12191999" cy="107888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126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942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88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098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7642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252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Wingdings" pitchFamily="2" charset="2"/>
                        <a:buNone/>
                      </a:pPr>
                      <a:r>
                        <a:rPr lang="en-GB" sz="1200" b="0" i="0" kern="1200" cap="all" baseline="0" noProof="0" dirty="0">
                          <a:solidFill>
                            <a:schemeClr val="bg1"/>
                          </a:solidFill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SCOPE</a:t>
                      </a:r>
                    </a:p>
                  </a:txBody>
                  <a:tcPr marL="108000" marR="252000" marT="34654" marB="34654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Wingdings" pitchFamily="2" charset="2"/>
                        <a:buNone/>
                      </a:pPr>
                      <a:r>
                        <a:rPr lang="en-GB" sz="1200" b="0" i="0" kern="1200" cap="all" baseline="0" noProof="0" dirty="0">
                          <a:solidFill>
                            <a:schemeClr val="bg1"/>
                          </a:solidFill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TIME</a:t>
                      </a:r>
                    </a:p>
                  </a:txBody>
                  <a:tcPr marL="108000" marR="252000" marT="34654" marB="34654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Wingdings" pitchFamily="2" charset="2"/>
                        <a:buNone/>
                      </a:pPr>
                      <a:r>
                        <a:rPr lang="en-GB" sz="1200" b="0" i="0" kern="1200" cap="all" baseline="0" noProof="0" dirty="0">
                          <a:solidFill>
                            <a:schemeClr val="bg1"/>
                          </a:solidFill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Resources</a:t>
                      </a:r>
                    </a:p>
                  </a:txBody>
                  <a:tcPr marL="108000" marR="252000" marT="34654" marB="34654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Wingdings" pitchFamily="2" charset="2"/>
                        <a:buNone/>
                      </a:pPr>
                      <a:r>
                        <a:rPr lang="en-GB" sz="1200" b="0" i="0" kern="1200" cap="all" baseline="0" noProof="0" dirty="0">
                          <a:solidFill>
                            <a:schemeClr val="bg1"/>
                          </a:solidFill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Risks &amp; ISSUES</a:t>
                      </a:r>
                    </a:p>
                  </a:txBody>
                  <a:tcPr marL="108000" marR="252000" marT="34654" marB="34654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Wingdings" pitchFamily="2" charset="2"/>
                        <a:buNone/>
                      </a:pPr>
                      <a:r>
                        <a:rPr lang="en-GB" sz="1200" b="0" i="0" kern="1200" cap="all" baseline="0" noProof="0" dirty="0">
                          <a:solidFill>
                            <a:schemeClr val="bg1"/>
                          </a:solidFill>
                          <a:effectLst/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Overall Status</a:t>
                      </a:r>
                    </a:p>
                  </a:txBody>
                  <a:tcPr marL="108000" marR="252000" marT="34654" marB="34654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203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100" b="0" i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Sprint </a:t>
                      </a:r>
                      <a:r>
                        <a:rPr lang="de-DE" sz="1100" b="0" i="1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07</a:t>
                      </a:r>
                      <a:endParaRPr lang="en-150" sz="1100" b="0" i="0" u="none" kern="1200" baseline="0" noProof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100" b="0" i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Planned for near futur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GB" sz="1100" b="0" i="0" u="none" kern="1200" baseline="0" noProof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marL="108000" marR="396000" marT="7200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100" b="0" i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Planned for this week</a:t>
                      </a:r>
                    </a:p>
                  </a:txBody>
                  <a:tcPr marL="108000" marR="396000" marT="7200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GB" sz="1100" b="0" kern="1200" baseline="0" noProof="1">
                        <a:solidFill>
                          <a:schemeClr val="tx1"/>
                        </a:solidFill>
                        <a:highlight>
                          <a:srgbClr val="FF0000"/>
                        </a:highlight>
                        <a:latin typeface="Avenir Book" charset="0"/>
                        <a:ea typeface="Avenir Book" charset="0"/>
                        <a:cs typeface="Avenir Book" charset="0"/>
                        <a:sym typeface="Wingdings"/>
                      </a:endParaRPr>
                    </a:p>
                  </a:txBody>
                  <a:tcPr marL="108000" marR="396000" marT="7200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100" b="0" i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(issues known 29.10.19)</a:t>
                      </a:r>
                    </a:p>
                  </a:txBody>
                  <a:tcPr marL="108000" marR="396000" marT="7200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100" b="0" kern="1200" baseline="0" noProof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Stable developmen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100" b="0" kern="1200" baseline="0" noProof="0" dirty="0">
                          <a:solidFill>
                            <a:schemeClr val="bg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and deliver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GB" sz="1100" b="0" kern="1200" baseline="0" noProof="0" dirty="0">
                        <a:solidFill>
                          <a:schemeClr val="bg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marL="108000" marR="396000" marT="72000" marB="0"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29814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200" b="1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  <a:t>Planned: </a:t>
                      </a:r>
                    </a:p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  <a:t>Different Object Pages for Different Type of Contacts</a:t>
                      </a:r>
                    </a:p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  <a:t>Integration tests Create</a:t>
                      </a:r>
                    </a:p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  <a:t>Deployable DB</a:t>
                      </a:r>
                    </a:p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  <a:t>Include DB for Pictures and Attachments</a:t>
                      </a:r>
                    </a:p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  <a:t>Optimizing Master Detail View</a:t>
                      </a:r>
                    </a:p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lang="en-GB" sz="1100" b="0" u="none" kern="1200" baseline="0" noProof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  <a:sym typeface="Wingdings"/>
                      </a:endParaRPr>
                    </a:p>
                    <a:p>
                      <a:pPr marL="534988" marR="0" lvl="0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lang="de-DE" sz="1100" b="0" u="none" kern="1200" baseline="0" noProof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  <a:sym typeface="Wingdings"/>
                      </a:endParaRPr>
                    </a:p>
                    <a:p>
                      <a:pPr marL="534988" marR="0" lvl="0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lang="en-GB" sz="1100" b="0" u="none" kern="1200" baseline="0" noProof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  <a:sym typeface="Wingdings"/>
                      </a:endParaRPr>
                    </a:p>
                    <a:p>
                      <a:pPr marL="355600" marR="0" lvl="0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lang="en-GB" sz="1100" b="0" u="none" kern="1200" baseline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</a:endParaRPr>
                    </a:p>
                  </a:txBody>
                  <a:tcPr marL="72000" marR="36000" marT="72000" marB="720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200" b="1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Completed </a:t>
                      </a:r>
                      <a:r>
                        <a:rPr lang="en-GB" sz="1200" b="1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(Status 29.10.19)</a:t>
                      </a:r>
                    </a:p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Local </a:t>
                      </a:r>
                      <a:r>
                        <a:rPr lang="en-GB" sz="1100" b="0" u="none" kern="1200" baseline="0" noProof="0" dirty="0" err="1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Loqate</a:t>
                      </a: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test program  Java </a:t>
                      </a:r>
                      <a:b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</a:b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(Emanuel)</a:t>
                      </a:r>
                    </a:p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Able to run Tests on Create View (Konstantin)</a:t>
                      </a:r>
                      <a:b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</a:br>
                      <a:endParaRPr lang="en-GB" sz="1100" b="0" u="none" kern="1200" baseline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</a:endParaRPr>
                    </a:p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200" b="1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Planned:</a:t>
                      </a:r>
                    </a:p>
                    <a:p>
                      <a:pPr marL="180975" marR="0" lvl="0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Working GET &amp; POST methods in </a:t>
                      </a:r>
                      <a:br>
                        <a:rPr lang="en-GB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</a:br>
                      <a:r>
                        <a:rPr lang="en-GB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JS - Frontend that call @action &amp; @function in java backend </a:t>
                      </a:r>
                      <a:br>
                        <a:rPr lang="en-GB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</a:br>
                      <a:r>
                        <a:rPr lang="en-GB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(Emanuel)</a:t>
                      </a:r>
                    </a:p>
                    <a:p>
                      <a:pPr marL="180975" marR="0" lvl="0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Writing tests for Create View</a:t>
                      </a:r>
                      <a:br>
                        <a:rPr lang="en-GB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</a:br>
                      <a:r>
                        <a:rPr lang="en-GB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(Konstantin)</a:t>
                      </a:r>
                    </a:p>
                    <a:p>
                      <a:pPr marL="180975" marR="0" lvl="0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XML or JSON response from ABBYY-API (</a:t>
                      </a:r>
                      <a:r>
                        <a:rPr lang="en-GB" sz="1100" b="0" u="none" kern="1200" baseline="0" dirty="0" err="1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Shafik</a:t>
                      </a:r>
                      <a:r>
                        <a:rPr lang="en-GB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80975" marR="0" lvl="0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More flexible Type of Contact choosing (Thomas)</a:t>
                      </a:r>
                    </a:p>
                    <a:p>
                      <a:pPr marL="180975" marR="0" lvl="0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Including APIs to project </a:t>
                      </a:r>
                      <a:br>
                        <a:rPr lang="en-GB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</a:br>
                      <a:r>
                        <a:rPr lang="en-GB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(Emanuel, </a:t>
                      </a:r>
                      <a:r>
                        <a:rPr lang="en-GB" sz="1100" b="0" u="none" kern="1200" baseline="0" dirty="0" err="1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Shafik</a:t>
                      </a:r>
                      <a:r>
                        <a:rPr lang="en-GB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80975" marR="0" lvl="0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lang="en-GB" sz="1100" b="0" u="none" kern="1200" baseline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</a:endParaRPr>
                    </a:p>
                    <a:p>
                      <a:pPr marL="180975" marR="0" lvl="0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lang="en-GB" sz="1100" b="0" u="none" kern="1200" baseline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</a:endParaRPr>
                    </a:p>
                    <a:p>
                      <a:pPr marL="180975" marR="0" lvl="0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lang="en-GB" sz="1100" b="0" u="none" kern="1200" baseline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</a:endParaRPr>
                    </a:p>
                    <a:p>
                      <a:pPr marL="180975" marR="0" lvl="0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lang="en-GB" sz="1100" b="0" u="none" kern="1200" baseline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</a:endParaRPr>
                    </a:p>
                    <a:p>
                      <a:pPr marL="357188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lang="en-GB" sz="1100" b="0" u="none" kern="1200" baseline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</a:endParaRPr>
                    </a:p>
                    <a:p>
                      <a:pPr marL="357188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lang="en-GB" sz="1100" b="0" u="none" kern="1200" baseline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</a:endParaRPr>
                    </a:p>
                    <a:p>
                      <a:pPr marL="357188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lang="en-GB" sz="1100" b="0" u="none" kern="1200" baseline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</a:endParaRPr>
                    </a:p>
                  </a:txBody>
                  <a:tcPr marL="72000" marR="36000" marT="72000" marB="720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100" b="0" i="1" kern="1200" baseline="0" noProof="1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  <a:sym typeface="Wingdings"/>
                      </a:endParaRPr>
                    </a:p>
                  </a:txBody>
                  <a:tcPr marL="72000" marR="36000" marT="72000" marB="720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200" b="1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  <a:t>Issues: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  <a:t>Need to find out how</a:t>
                      </a:r>
                      <a:b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</a:b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  <a:t> @actions &amp; @functions in </a:t>
                      </a:r>
                      <a:b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</a:b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  <a:t>Java backend are connected to</a:t>
                      </a:r>
                      <a:b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</a:b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  <a:t>GET &amp; POST in frontend</a:t>
                      </a:r>
                      <a:b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</a:b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  <a:t>(Emanuel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  <a:t>CSV JSON – Parser</a:t>
                      </a:r>
                      <a:b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</a:b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  <a:t>(</a:t>
                      </a:r>
                      <a:r>
                        <a:rPr lang="en-GB" sz="1100" b="0" u="none" kern="1200" baseline="0" noProof="0" dirty="0" err="1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  <a:t>Shafik</a:t>
                      </a:r>
                      <a:r>
                        <a:rPr lang="en-GB" sz="1100" b="0" u="none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  <a:sym typeface="Wingdings"/>
                        </a:rPr>
                        <a:t>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Reading </a:t>
                      </a:r>
                      <a:r>
                        <a:rPr lang="en-US" sz="1100" b="0" u="none" kern="1200" baseline="0" dirty="0" err="1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createView</a:t>
                      </a:r>
                      <a:r>
                        <a:rPr lang="en-US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 Value to enable dynamic testing</a:t>
                      </a:r>
                      <a:br>
                        <a:rPr lang="en-US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</a:br>
                      <a:r>
                        <a:rPr lang="en-US" sz="1100" b="0" u="none" kern="1200" baseline="0" dirty="0">
                          <a:solidFill>
                            <a:schemeClr val="tx1"/>
                          </a:solidFill>
                          <a:latin typeface="Avenir Book" charset="0"/>
                          <a:ea typeface="+mn-ea"/>
                          <a:cs typeface="+mn-cs"/>
                        </a:rPr>
                        <a:t>(Konstantin)</a:t>
                      </a:r>
                      <a:endParaRPr lang="en-GB" sz="1100" b="0" u="none" kern="1200" baseline="0" noProof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  <a:sym typeface="Wingding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endParaRPr lang="en-GB" sz="1100" b="0" u="none" kern="1200" baseline="0" noProof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  <a:sym typeface="Wingding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endParaRPr lang="en-GB" sz="1100" b="1" u="none" kern="1200" baseline="0" noProof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  <a:sym typeface="Wingding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endParaRPr lang="en-GB" sz="1100" b="1" u="none" kern="1200" baseline="0" noProof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  <a:sym typeface="Wingdings"/>
                      </a:endParaRPr>
                    </a:p>
                    <a:p>
                      <a:pPr marL="223837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de-DE" sz="1100" b="0" u="none" kern="1200" baseline="0" noProof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  <a:sym typeface="Wingdings"/>
                      </a:endParaRPr>
                    </a:p>
                  </a:txBody>
                  <a:tcPr marL="72000" marR="36000" marT="72000" marB="720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charset="2"/>
                        <a:buNone/>
                        <a:tabLst/>
                        <a:defRPr/>
                      </a:pPr>
                      <a:endParaRPr lang="en-GB" sz="1100" b="0" kern="1200" baseline="0" noProof="0" dirty="0">
                        <a:solidFill>
                          <a:schemeClr val="bg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charset="2"/>
                        <a:buChar char="§"/>
                        <a:tabLst/>
                        <a:defRPr/>
                      </a:pPr>
                      <a:endParaRPr lang="en-GB" sz="1100" b="0" kern="1200" baseline="0" noProof="0" dirty="0">
                        <a:solidFill>
                          <a:schemeClr val="bg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marL="72000" marR="72000" marT="72000" marB="72000"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29814">
                <a:tc>
                  <a:txBody>
                    <a:bodyPr/>
                    <a:lstStyle/>
                    <a:p>
                      <a:pPr marL="355600" marR="0" lvl="0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lang="en-GB" sz="1100" b="0" u="none" kern="1200" baseline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</a:endParaRPr>
                    </a:p>
                  </a:txBody>
                  <a:tcPr marL="72000" marR="36000" marT="72000" marB="720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57188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lang="en-GB" sz="1100" b="0" u="none" kern="1200" baseline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</a:endParaRPr>
                    </a:p>
                  </a:txBody>
                  <a:tcPr marL="72000" marR="36000" marT="72000" marB="720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100" b="0" i="1" kern="1200" baseline="0" noProof="1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  <a:sym typeface="Wingdings"/>
                      </a:endParaRPr>
                    </a:p>
                  </a:txBody>
                  <a:tcPr marL="72000" marR="36000" marT="72000" marB="720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3837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de-DE" sz="1100" b="0" u="none" kern="1200" baseline="0" noProof="0" dirty="0">
                        <a:solidFill>
                          <a:schemeClr val="tx1"/>
                        </a:solidFill>
                        <a:latin typeface="Avenir Book" charset="0"/>
                        <a:ea typeface="+mn-ea"/>
                        <a:cs typeface="+mn-cs"/>
                        <a:sym typeface="Wingdings"/>
                      </a:endParaRPr>
                    </a:p>
                  </a:txBody>
                  <a:tcPr marL="72000" marR="36000" marT="72000" marB="720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charset="2"/>
                        <a:buChar char="§"/>
                        <a:tabLst/>
                        <a:defRPr/>
                      </a:pPr>
                      <a:endParaRPr lang="en-GB" sz="1100" b="0" kern="1200" baseline="0" noProof="0" dirty="0">
                        <a:solidFill>
                          <a:schemeClr val="bg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marL="72000" marR="72000" marT="72000" marB="72000"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9608607"/>
                  </a:ext>
                </a:extLst>
              </a:tr>
            </a:tbl>
          </a:graphicData>
        </a:graphic>
      </p:graphicFrame>
      <p:graphicFrame>
        <p:nvGraphicFramePr>
          <p:cNvPr id="7" name="Tabelle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0095961"/>
              </p:ext>
            </p:extLst>
          </p:nvPr>
        </p:nvGraphicFramePr>
        <p:xfrm>
          <a:off x="-3625" y="358953"/>
          <a:ext cx="7544638" cy="13452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63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782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57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kern="1200" cap="all" baseline="0" noProof="0" dirty="0">
                          <a:solidFill>
                            <a:schemeClr val="tx1"/>
                          </a:solidFill>
                          <a:effectLst/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Report Period</a:t>
                      </a:r>
                    </a:p>
                  </a:txBody>
                  <a:tcPr marL="72000" marR="36000" marT="34841" marB="34841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1100" kern="1200" noProof="0" dirty="0">
                          <a:solidFill>
                            <a:schemeClr val="dk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28.10.19</a:t>
                      </a:r>
                      <a:r>
                        <a:rPr lang="en-GB" sz="1100" kern="1200" noProof="0" dirty="0">
                          <a:solidFill>
                            <a:schemeClr val="dk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 (Mon)  –  31.10.19 (Thu) </a:t>
                      </a:r>
                      <a:r>
                        <a:rPr lang="mr-IN" sz="1100" kern="1200" noProof="0" dirty="0">
                          <a:solidFill>
                            <a:schemeClr val="dk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–</a:t>
                      </a:r>
                      <a:r>
                        <a:rPr lang="en-GB" sz="1100" kern="1200" noProof="0" dirty="0">
                          <a:solidFill>
                            <a:schemeClr val="dk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 CW </a:t>
                      </a:r>
                      <a:r>
                        <a:rPr lang="de-DE" sz="1100" kern="1200" noProof="0" dirty="0">
                          <a:solidFill>
                            <a:schemeClr val="dk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44</a:t>
                      </a:r>
                      <a:endParaRPr lang="en-GB" sz="1100" kern="1200" noProof="0" dirty="0">
                        <a:solidFill>
                          <a:schemeClr val="dk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marL="72000" marR="0" marT="34841" marB="348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560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kern="1200" cap="all" baseline="0" noProof="0" dirty="0">
                          <a:solidFill>
                            <a:schemeClr val="tx1"/>
                          </a:solidFill>
                          <a:effectLst/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Progress</a:t>
                      </a:r>
                    </a:p>
                  </a:txBody>
                  <a:tcPr marL="72000" marR="36000" marT="34841" marB="34841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GB" sz="1100" b="0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Sprint </a:t>
                      </a:r>
                      <a:r>
                        <a:rPr lang="de-DE" sz="1100" b="0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08</a:t>
                      </a:r>
                      <a:r>
                        <a:rPr lang="en-GB" sz="1100" b="0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 will start on </a:t>
                      </a:r>
                      <a:r>
                        <a:rPr lang="fr-FR" sz="1100" b="0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04.11.19</a:t>
                      </a:r>
                      <a:r>
                        <a:rPr lang="en-GB" sz="1100" b="0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 (</a:t>
                      </a:r>
                      <a:r>
                        <a:rPr lang="de-DE" sz="1100" b="0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01</a:t>
                      </a:r>
                      <a:r>
                        <a:rPr lang="en-GB" sz="1100" b="0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 week duration) – Ends on </a:t>
                      </a:r>
                      <a:r>
                        <a:rPr lang="de-DE" sz="1100" b="0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08.11.19</a:t>
                      </a:r>
                      <a:endParaRPr lang="en-GB" sz="1100" b="0" kern="1200" baseline="0" noProof="0" dirty="0">
                        <a:solidFill>
                          <a:schemeClr val="tx1"/>
                        </a:solidFill>
                        <a:latin typeface="Avenir Book" charset="0"/>
                        <a:ea typeface="Avenir Book" charset="0"/>
                        <a:cs typeface="Avenir Book" charset="0"/>
                      </a:endParaRPr>
                    </a:p>
                  </a:txBody>
                  <a:tcPr marL="72000" marR="0" marT="34841" marB="348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39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kern="1200" cap="all" baseline="0" noProof="0" dirty="0">
                          <a:solidFill>
                            <a:schemeClr val="tx1"/>
                          </a:solidFill>
                          <a:effectLst/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Next PeriOd</a:t>
                      </a:r>
                    </a:p>
                  </a:txBody>
                  <a:tcPr marL="72000" marR="36000" marT="34841" marB="34841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GB" sz="1100" b="0" kern="1200" baseline="0" noProof="0" dirty="0">
                          <a:solidFill>
                            <a:schemeClr val="tx1"/>
                          </a:solidFill>
                          <a:latin typeface="Avenir Book" charset="0"/>
                          <a:ea typeface="Avenir Book" charset="0"/>
                          <a:cs typeface="Avenir Book" charset="0"/>
                        </a:rPr>
                        <a:t>Needs to be aligned</a:t>
                      </a:r>
                    </a:p>
                  </a:txBody>
                  <a:tcPr marL="72000" marR="0" marT="34841" marB="348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" name="Titel 1"/>
          <p:cNvSpPr txBox="1">
            <a:spLocks/>
          </p:cNvSpPr>
          <p:nvPr/>
        </p:nvSpPr>
        <p:spPr>
          <a:xfrm>
            <a:off x="1722462" y="-73156"/>
            <a:ext cx="10481507" cy="461665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ts val="3270"/>
              </a:lnSpc>
              <a:spcBef>
                <a:spcPct val="0"/>
              </a:spcBef>
              <a:buNone/>
              <a:defRPr sz="30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dirty="0">
                <a:solidFill>
                  <a:schemeClr val="tx1"/>
                </a:solidFill>
              </a:rPr>
              <a:t>MESSEKONTAKTERFASSUNG</a:t>
            </a:r>
            <a:r>
              <a:rPr lang="en-US" sz="1400" dirty="0">
                <a:solidFill>
                  <a:schemeClr val="tx1"/>
                </a:solidFill>
              </a:rPr>
              <a:t> STATUS</a:t>
            </a:r>
            <a:endParaRPr lang="en-US" sz="1400" dirty="0">
              <a:solidFill>
                <a:schemeClr val="tx1"/>
              </a:solidFill>
              <a:latin typeface="Avenir Heavy" charset="0"/>
              <a:ea typeface="Avenir Heavy" charset="0"/>
              <a:cs typeface="Avenir Heavy" charset="0"/>
            </a:endParaRPr>
          </a:p>
        </p:txBody>
      </p:sp>
      <p:pic>
        <p:nvPicPr>
          <p:cNvPr id="53" name="Picture 52" descr="File:&lt;strong&gt;Checkbox&lt;/strong&gt;.sv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29820" y="414394"/>
            <a:ext cx="274428" cy="182880"/>
          </a:xfrm>
          <a:prstGeom prst="rect">
            <a:avLst/>
          </a:prstGeom>
        </p:spPr>
      </p:pic>
      <p:grpSp>
        <p:nvGrpSpPr>
          <p:cNvPr id="119" name="Gruppierung 48">
            <a:extLst>
              <a:ext uri="{FF2B5EF4-FFF2-40B4-BE49-F238E27FC236}">
                <a16:creationId xmlns:a16="http://schemas.microsoft.com/office/drawing/2014/main" id="{B9395A87-A788-0345-B626-94C27A1A1A77}"/>
              </a:ext>
            </a:extLst>
          </p:cNvPr>
          <p:cNvGrpSpPr/>
          <p:nvPr/>
        </p:nvGrpSpPr>
        <p:grpSpPr>
          <a:xfrm>
            <a:off x="13219937" y="2611872"/>
            <a:ext cx="331696" cy="886776"/>
            <a:chOff x="12892372" y="86253"/>
            <a:chExt cx="331696" cy="886776"/>
          </a:xfrm>
        </p:grpSpPr>
        <p:sp>
          <p:nvSpPr>
            <p:cNvPr id="120" name="Ellipse 42">
              <a:extLst>
                <a:ext uri="{FF2B5EF4-FFF2-40B4-BE49-F238E27FC236}">
                  <a16:creationId xmlns:a16="http://schemas.microsoft.com/office/drawing/2014/main" id="{D35D8EE2-4372-6240-BD80-2A4A63C46D10}"/>
                </a:ext>
              </a:extLst>
            </p:cNvPr>
            <p:cNvSpPr/>
            <p:nvPr/>
          </p:nvSpPr>
          <p:spPr bwMode="gray">
            <a:xfrm>
              <a:off x="12932988" y="407794"/>
              <a:ext cx="243695" cy="24369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6350">
              <a:solidFill>
                <a:srgbClr val="AFAFAF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121" name="Ellipse 43">
              <a:extLst>
                <a:ext uri="{FF2B5EF4-FFF2-40B4-BE49-F238E27FC236}">
                  <a16:creationId xmlns:a16="http://schemas.microsoft.com/office/drawing/2014/main" id="{937C915C-8A4D-AA41-97F1-C2A09964E702}"/>
                </a:ext>
              </a:extLst>
            </p:cNvPr>
            <p:cNvSpPr/>
            <p:nvPr/>
          </p:nvSpPr>
          <p:spPr bwMode="gray">
            <a:xfrm>
              <a:off x="12932988" y="684257"/>
              <a:ext cx="243695" cy="24369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6350">
              <a:solidFill>
                <a:srgbClr val="AFAFAF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122" name="Ellipse 67">
              <a:extLst>
                <a:ext uri="{FF2B5EF4-FFF2-40B4-BE49-F238E27FC236}">
                  <a16:creationId xmlns:a16="http://schemas.microsoft.com/office/drawing/2014/main" id="{A68FA5AA-296E-4349-8ECF-CE44E20E0887}"/>
                </a:ext>
              </a:extLst>
            </p:cNvPr>
            <p:cNvSpPr/>
            <p:nvPr/>
          </p:nvSpPr>
          <p:spPr bwMode="gray">
            <a:xfrm>
              <a:off x="12892372" y="86253"/>
              <a:ext cx="331696" cy="886776"/>
            </a:xfrm>
            <a:custGeom>
              <a:avLst/>
              <a:gdLst/>
              <a:ahLst/>
              <a:cxnLst/>
              <a:rect l="l" t="t" r="r" b="b"/>
              <a:pathLst>
                <a:path w="432000" h="1154938">
                  <a:moveTo>
                    <a:pt x="52898" y="216000"/>
                  </a:moveTo>
                  <a:cubicBezTo>
                    <a:pt x="52898" y="303644"/>
                    <a:pt x="123948" y="374694"/>
                    <a:pt x="211592" y="374694"/>
                  </a:cubicBezTo>
                  <a:cubicBezTo>
                    <a:pt x="299236" y="374694"/>
                    <a:pt x="370286" y="303644"/>
                    <a:pt x="370286" y="216000"/>
                  </a:cubicBezTo>
                  <a:cubicBezTo>
                    <a:pt x="370286" y="128356"/>
                    <a:pt x="299236" y="57306"/>
                    <a:pt x="211592" y="57306"/>
                  </a:cubicBezTo>
                  <a:cubicBezTo>
                    <a:pt x="123948" y="57306"/>
                    <a:pt x="52898" y="128356"/>
                    <a:pt x="52898" y="216000"/>
                  </a:cubicBezTo>
                  <a:close/>
                  <a:moveTo>
                    <a:pt x="52898" y="576066"/>
                  </a:moveTo>
                  <a:cubicBezTo>
                    <a:pt x="52898" y="663710"/>
                    <a:pt x="123948" y="734760"/>
                    <a:pt x="211592" y="734760"/>
                  </a:cubicBezTo>
                  <a:cubicBezTo>
                    <a:pt x="299236" y="734760"/>
                    <a:pt x="370286" y="663710"/>
                    <a:pt x="370286" y="576066"/>
                  </a:cubicBezTo>
                  <a:cubicBezTo>
                    <a:pt x="370286" y="488422"/>
                    <a:pt x="299236" y="417372"/>
                    <a:pt x="211592" y="417372"/>
                  </a:cubicBezTo>
                  <a:cubicBezTo>
                    <a:pt x="123948" y="417372"/>
                    <a:pt x="52898" y="488422"/>
                    <a:pt x="52898" y="576066"/>
                  </a:cubicBezTo>
                  <a:close/>
                  <a:moveTo>
                    <a:pt x="52898" y="936132"/>
                  </a:moveTo>
                  <a:cubicBezTo>
                    <a:pt x="52898" y="1023776"/>
                    <a:pt x="123948" y="1094826"/>
                    <a:pt x="211592" y="1094826"/>
                  </a:cubicBezTo>
                  <a:cubicBezTo>
                    <a:pt x="299236" y="1094826"/>
                    <a:pt x="370286" y="1023776"/>
                    <a:pt x="370286" y="936132"/>
                  </a:cubicBezTo>
                  <a:cubicBezTo>
                    <a:pt x="370286" y="848488"/>
                    <a:pt x="299236" y="777438"/>
                    <a:pt x="211592" y="777438"/>
                  </a:cubicBezTo>
                  <a:cubicBezTo>
                    <a:pt x="123948" y="777438"/>
                    <a:pt x="52898" y="848488"/>
                    <a:pt x="52898" y="936132"/>
                  </a:cubicBezTo>
                  <a:close/>
                  <a:moveTo>
                    <a:pt x="0" y="1082937"/>
                  </a:moveTo>
                  <a:lnTo>
                    <a:pt x="0" y="72001"/>
                  </a:lnTo>
                  <a:cubicBezTo>
                    <a:pt x="0" y="32236"/>
                    <a:pt x="32236" y="0"/>
                    <a:pt x="72001" y="0"/>
                  </a:cubicBezTo>
                  <a:lnTo>
                    <a:pt x="359999" y="0"/>
                  </a:lnTo>
                  <a:cubicBezTo>
                    <a:pt x="399764" y="0"/>
                    <a:pt x="432000" y="32236"/>
                    <a:pt x="432000" y="72001"/>
                  </a:cubicBezTo>
                  <a:lnTo>
                    <a:pt x="432000" y="1082937"/>
                  </a:lnTo>
                  <a:cubicBezTo>
                    <a:pt x="432000" y="1122702"/>
                    <a:pt x="399764" y="1154938"/>
                    <a:pt x="359999" y="1154938"/>
                  </a:cubicBezTo>
                  <a:lnTo>
                    <a:pt x="72001" y="1154938"/>
                  </a:lnTo>
                  <a:cubicBezTo>
                    <a:pt x="32236" y="1154938"/>
                    <a:pt x="0" y="1122702"/>
                    <a:pt x="0" y="108293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FFFF">
                    <a:shade val="30000"/>
                    <a:satMod val="11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6350">
              <a:noFill/>
              <a:round/>
              <a:headEnd/>
              <a:tailEnd/>
            </a:ln>
            <a:effectLst>
              <a:outerShdw blurRad="127000" algn="ctr" rotWithShape="0">
                <a:prstClr val="black">
                  <a:alpha val="35000"/>
                </a:prstClr>
              </a:outerShdw>
            </a:effectLst>
            <a:scene3d>
              <a:camera prst="orthographicFront"/>
              <a:lightRig rig="threePt" dir="t"/>
            </a:scene3d>
            <a:sp3d prstMaterial="metal">
              <a:bevelT w="25400" h="25400" prst="coolSlant"/>
            </a:sp3d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123" name="Ellipse 41">
              <a:extLst>
                <a:ext uri="{FF2B5EF4-FFF2-40B4-BE49-F238E27FC236}">
                  <a16:creationId xmlns:a16="http://schemas.microsoft.com/office/drawing/2014/main" id="{2B957944-3AFE-7049-9291-294B60826D50}"/>
                </a:ext>
              </a:extLst>
            </p:cNvPr>
            <p:cNvSpPr/>
            <p:nvPr/>
          </p:nvSpPr>
          <p:spPr bwMode="gray">
            <a:xfrm>
              <a:off x="12932988" y="131331"/>
              <a:ext cx="243695" cy="243695"/>
            </a:xfrm>
            <a:prstGeom prst="ellipse">
              <a:avLst/>
            </a:prstGeom>
            <a:solidFill>
              <a:srgbClr val="FF0000"/>
            </a:solidFill>
            <a:ln w="6350">
              <a:solidFill>
                <a:srgbClr val="AFAFAF"/>
              </a:solidFill>
              <a:round/>
              <a:headEnd/>
              <a:tailEnd/>
            </a:ln>
            <a:effectLst>
              <a:glow rad="63500">
                <a:srgbClr val="FF0000">
                  <a:alpha val="50000"/>
                </a:srgbClr>
              </a:glow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</p:grpSp>
      <p:grpSp>
        <p:nvGrpSpPr>
          <p:cNvPr id="108" name="Gruppierung 50">
            <a:extLst>
              <a:ext uri="{FF2B5EF4-FFF2-40B4-BE49-F238E27FC236}">
                <a16:creationId xmlns:a16="http://schemas.microsoft.com/office/drawing/2014/main" id="{92879623-47CC-469A-AD90-A93A01E94668}"/>
              </a:ext>
            </a:extLst>
          </p:cNvPr>
          <p:cNvGrpSpPr/>
          <p:nvPr/>
        </p:nvGrpSpPr>
        <p:grpSpPr>
          <a:xfrm>
            <a:off x="13169167" y="1161185"/>
            <a:ext cx="331696" cy="886776"/>
            <a:chOff x="13303165" y="83522"/>
            <a:chExt cx="331696" cy="886776"/>
          </a:xfrm>
        </p:grpSpPr>
        <p:sp>
          <p:nvSpPr>
            <p:cNvPr id="109" name="Ellipse 36">
              <a:extLst>
                <a:ext uri="{FF2B5EF4-FFF2-40B4-BE49-F238E27FC236}">
                  <a16:creationId xmlns:a16="http://schemas.microsoft.com/office/drawing/2014/main" id="{A9DA9D15-9F09-4C1E-B78F-F2C1E8351772}"/>
                </a:ext>
              </a:extLst>
            </p:cNvPr>
            <p:cNvSpPr/>
            <p:nvPr/>
          </p:nvSpPr>
          <p:spPr bwMode="gray">
            <a:xfrm>
              <a:off x="13343781" y="128600"/>
              <a:ext cx="243695" cy="24369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6350">
              <a:solidFill>
                <a:srgbClr val="AFAFAF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110" name="Ellipse 37">
              <a:extLst>
                <a:ext uri="{FF2B5EF4-FFF2-40B4-BE49-F238E27FC236}">
                  <a16:creationId xmlns:a16="http://schemas.microsoft.com/office/drawing/2014/main" id="{51C79F2D-FC21-47C4-B75A-8CF327702660}"/>
                </a:ext>
              </a:extLst>
            </p:cNvPr>
            <p:cNvSpPr/>
            <p:nvPr/>
          </p:nvSpPr>
          <p:spPr bwMode="gray">
            <a:xfrm>
              <a:off x="13343781" y="405063"/>
              <a:ext cx="243695" cy="24369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16200000" scaled="1"/>
              <a:tileRect/>
            </a:gradFill>
            <a:ln w="6350">
              <a:solidFill>
                <a:srgbClr val="AFAFAF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111" name="Ellipse 67">
              <a:extLst>
                <a:ext uri="{FF2B5EF4-FFF2-40B4-BE49-F238E27FC236}">
                  <a16:creationId xmlns:a16="http://schemas.microsoft.com/office/drawing/2014/main" id="{6C70890C-1E62-45E8-B619-5FF2FB5F1E3A}"/>
                </a:ext>
              </a:extLst>
            </p:cNvPr>
            <p:cNvSpPr/>
            <p:nvPr/>
          </p:nvSpPr>
          <p:spPr bwMode="gray">
            <a:xfrm>
              <a:off x="13303165" y="83522"/>
              <a:ext cx="331696" cy="886776"/>
            </a:xfrm>
            <a:custGeom>
              <a:avLst/>
              <a:gdLst/>
              <a:ahLst/>
              <a:cxnLst/>
              <a:rect l="l" t="t" r="r" b="b"/>
              <a:pathLst>
                <a:path w="432000" h="1154938">
                  <a:moveTo>
                    <a:pt x="52898" y="216000"/>
                  </a:moveTo>
                  <a:cubicBezTo>
                    <a:pt x="52898" y="303644"/>
                    <a:pt x="123948" y="374694"/>
                    <a:pt x="211592" y="374694"/>
                  </a:cubicBezTo>
                  <a:cubicBezTo>
                    <a:pt x="299236" y="374694"/>
                    <a:pt x="370286" y="303644"/>
                    <a:pt x="370286" y="216000"/>
                  </a:cubicBezTo>
                  <a:cubicBezTo>
                    <a:pt x="370286" y="128356"/>
                    <a:pt x="299236" y="57306"/>
                    <a:pt x="211592" y="57306"/>
                  </a:cubicBezTo>
                  <a:cubicBezTo>
                    <a:pt x="123948" y="57306"/>
                    <a:pt x="52898" y="128356"/>
                    <a:pt x="52898" y="216000"/>
                  </a:cubicBezTo>
                  <a:close/>
                  <a:moveTo>
                    <a:pt x="52898" y="576066"/>
                  </a:moveTo>
                  <a:cubicBezTo>
                    <a:pt x="52898" y="663710"/>
                    <a:pt x="123948" y="734760"/>
                    <a:pt x="211592" y="734760"/>
                  </a:cubicBezTo>
                  <a:cubicBezTo>
                    <a:pt x="299236" y="734760"/>
                    <a:pt x="370286" y="663710"/>
                    <a:pt x="370286" y="576066"/>
                  </a:cubicBezTo>
                  <a:cubicBezTo>
                    <a:pt x="370286" y="488422"/>
                    <a:pt x="299236" y="417372"/>
                    <a:pt x="211592" y="417372"/>
                  </a:cubicBezTo>
                  <a:cubicBezTo>
                    <a:pt x="123948" y="417372"/>
                    <a:pt x="52898" y="488422"/>
                    <a:pt x="52898" y="576066"/>
                  </a:cubicBezTo>
                  <a:close/>
                  <a:moveTo>
                    <a:pt x="52898" y="936132"/>
                  </a:moveTo>
                  <a:cubicBezTo>
                    <a:pt x="52898" y="1023776"/>
                    <a:pt x="123948" y="1094826"/>
                    <a:pt x="211592" y="1094826"/>
                  </a:cubicBezTo>
                  <a:cubicBezTo>
                    <a:pt x="299236" y="1094826"/>
                    <a:pt x="370286" y="1023776"/>
                    <a:pt x="370286" y="936132"/>
                  </a:cubicBezTo>
                  <a:cubicBezTo>
                    <a:pt x="370286" y="848488"/>
                    <a:pt x="299236" y="777438"/>
                    <a:pt x="211592" y="777438"/>
                  </a:cubicBezTo>
                  <a:cubicBezTo>
                    <a:pt x="123948" y="777438"/>
                    <a:pt x="52898" y="848488"/>
                    <a:pt x="52898" y="936132"/>
                  </a:cubicBezTo>
                  <a:close/>
                  <a:moveTo>
                    <a:pt x="0" y="1082937"/>
                  </a:moveTo>
                  <a:lnTo>
                    <a:pt x="0" y="72001"/>
                  </a:lnTo>
                  <a:cubicBezTo>
                    <a:pt x="0" y="32236"/>
                    <a:pt x="32236" y="0"/>
                    <a:pt x="72001" y="0"/>
                  </a:cubicBezTo>
                  <a:lnTo>
                    <a:pt x="359999" y="0"/>
                  </a:lnTo>
                  <a:cubicBezTo>
                    <a:pt x="399764" y="0"/>
                    <a:pt x="432000" y="32236"/>
                    <a:pt x="432000" y="72001"/>
                  </a:cubicBezTo>
                  <a:lnTo>
                    <a:pt x="432000" y="1082937"/>
                  </a:lnTo>
                  <a:cubicBezTo>
                    <a:pt x="432000" y="1122702"/>
                    <a:pt x="399764" y="1154938"/>
                    <a:pt x="359999" y="1154938"/>
                  </a:cubicBezTo>
                  <a:lnTo>
                    <a:pt x="72001" y="1154938"/>
                  </a:lnTo>
                  <a:cubicBezTo>
                    <a:pt x="32236" y="1154938"/>
                    <a:pt x="0" y="1122702"/>
                    <a:pt x="0" y="108293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FFFF">
                    <a:shade val="30000"/>
                    <a:satMod val="11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6350">
              <a:noFill/>
              <a:round/>
              <a:headEnd/>
              <a:tailEnd/>
            </a:ln>
            <a:effectLst>
              <a:outerShdw blurRad="127000" algn="ctr" rotWithShape="0">
                <a:prstClr val="black">
                  <a:alpha val="35000"/>
                </a:prstClr>
              </a:outerShdw>
            </a:effectLst>
            <a:scene3d>
              <a:camera prst="orthographicFront"/>
              <a:lightRig rig="threePt" dir="t"/>
            </a:scene3d>
            <a:sp3d prstMaterial="metal">
              <a:bevelT w="25400" h="25400" prst="coolSlant"/>
            </a:sp3d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112" name="Ellipse 38">
              <a:extLst>
                <a:ext uri="{FF2B5EF4-FFF2-40B4-BE49-F238E27FC236}">
                  <a16:creationId xmlns:a16="http://schemas.microsoft.com/office/drawing/2014/main" id="{334C6422-2631-47F7-8758-9139338BA406}"/>
                </a:ext>
              </a:extLst>
            </p:cNvPr>
            <p:cNvSpPr/>
            <p:nvPr/>
          </p:nvSpPr>
          <p:spPr bwMode="gray">
            <a:xfrm>
              <a:off x="13343781" y="681526"/>
              <a:ext cx="243695" cy="243695"/>
            </a:xfrm>
            <a:prstGeom prst="ellipse">
              <a:avLst/>
            </a:prstGeom>
            <a:solidFill>
              <a:srgbClr val="92D050"/>
            </a:solidFill>
            <a:ln w="6350">
              <a:solidFill>
                <a:srgbClr val="AFAFAF"/>
              </a:solidFill>
              <a:round/>
              <a:headEnd/>
              <a:tailEnd/>
            </a:ln>
            <a:effectLst>
              <a:glow rad="63500">
                <a:srgbClr val="92D050">
                  <a:alpha val="50000"/>
                </a:srgbClr>
              </a:glow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</p:grpSp>
      <p:grpSp>
        <p:nvGrpSpPr>
          <p:cNvPr id="73" name="Gruppierung 71">
            <a:extLst>
              <a:ext uri="{FF2B5EF4-FFF2-40B4-BE49-F238E27FC236}">
                <a16:creationId xmlns:a16="http://schemas.microsoft.com/office/drawing/2014/main" id="{C91DFF15-06F9-354E-94DF-40D3B3A88BFB}"/>
              </a:ext>
            </a:extLst>
          </p:cNvPr>
          <p:cNvGrpSpPr/>
          <p:nvPr/>
        </p:nvGrpSpPr>
        <p:grpSpPr>
          <a:xfrm>
            <a:off x="13172552" y="4085098"/>
            <a:ext cx="331696" cy="886776"/>
            <a:chOff x="12440963" y="86253"/>
            <a:chExt cx="331696" cy="886776"/>
          </a:xfrm>
        </p:grpSpPr>
        <p:sp>
          <p:nvSpPr>
            <p:cNvPr id="74" name="Ellipse 46">
              <a:extLst>
                <a:ext uri="{FF2B5EF4-FFF2-40B4-BE49-F238E27FC236}">
                  <a16:creationId xmlns:a16="http://schemas.microsoft.com/office/drawing/2014/main" id="{CACBFC3D-0C21-5247-B7D2-4DFB6B4B2D7E}"/>
                </a:ext>
              </a:extLst>
            </p:cNvPr>
            <p:cNvSpPr/>
            <p:nvPr/>
          </p:nvSpPr>
          <p:spPr bwMode="gray">
            <a:xfrm>
              <a:off x="12481579" y="131333"/>
              <a:ext cx="243695" cy="24369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6350">
              <a:solidFill>
                <a:srgbClr val="AFAFAF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GB" sz="1900" dirty="0">
                <a:solidFill>
                  <a:prstClr val="black"/>
                </a:solidFill>
              </a:endParaRPr>
            </a:p>
          </p:txBody>
        </p:sp>
        <p:sp>
          <p:nvSpPr>
            <p:cNvPr id="75" name="Ellipse 53">
              <a:extLst>
                <a:ext uri="{FF2B5EF4-FFF2-40B4-BE49-F238E27FC236}">
                  <a16:creationId xmlns:a16="http://schemas.microsoft.com/office/drawing/2014/main" id="{39ACE1E4-BAA8-2B40-90EA-F2406C7D0F87}"/>
                </a:ext>
              </a:extLst>
            </p:cNvPr>
            <p:cNvSpPr/>
            <p:nvPr/>
          </p:nvSpPr>
          <p:spPr bwMode="gray">
            <a:xfrm>
              <a:off x="12481579" y="684259"/>
              <a:ext cx="243695" cy="24369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6350">
              <a:solidFill>
                <a:srgbClr val="AFAFAF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GB" sz="1900" dirty="0">
                <a:solidFill>
                  <a:prstClr val="black"/>
                </a:solidFill>
              </a:endParaRPr>
            </a:p>
          </p:txBody>
        </p:sp>
        <p:sp>
          <p:nvSpPr>
            <p:cNvPr id="86" name="Ellipse 67">
              <a:extLst>
                <a:ext uri="{FF2B5EF4-FFF2-40B4-BE49-F238E27FC236}">
                  <a16:creationId xmlns:a16="http://schemas.microsoft.com/office/drawing/2014/main" id="{A037E48E-BDC4-1C4D-A989-D7D182847CFA}"/>
                </a:ext>
              </a:extLst>
            </p:cNvPr>
            <p:cNvSpPr/>
            <p:nvPr/>
          </p:nvSpPr>
          <p:spPr bwMode="gray">
            <a:xfrm>
              <a:off x="12440963" y="86253"/>
              <a:ext cx="331696" cy="886776"/>
            </a:xfrm>
            <a:custGeom>
              <a:avLst/>
              <a:gdLst/>
              <a:ahLst/>
              <a:cxnLst/>
              <a:rect l="l" t="t" r="r" b="b"/>
              <a:pathLst>
                <a:path w="432000" h="1154938">
                  <a:moveTo>
                    <a:pt x="52898" y="216000"/>
                  </a:moveTo>
                  <a:cubicBezTo>
                    <a:pt x="52898" y="303644"/>
                    <a:pt x="123948" y="374694"/>
                    <a:pt x="211592" y="374694"/>
                  </a:cubicBezTo>
                  <a:cubicBezTo>
                    <a:pt x="299236" y="374694"/>
                    <a:pt x="370286" y="303644"/>
                    <a:pt x="370286" y="216000"/>
                  </a:cubicBezTo>
                  <a:cubicBezTo>
                    <a:pt x="370286" y="128356"/>
                    <a:pt x="299236" y="57306"/>
                    <a:pt x="211592" y="57306"/>
                  </a:cubicBezTo>
                  <a:cubicBezTo>
                    <a:pt x="123948" y="57306"/>
                    <a:pt x="52898" y="128356"/>
                    <a:pt x="52898" y="216000"/>
                  </a:cubicBezTo>
                  <a:close/>
                  <a:moveTo>
                    <a:pt x="52898" y="576066"/>
                  </a:moveTo>
                  <a:cubicBezTo>
                    <a:pt x="52898" y="663710"/>
                    <a:pt x="123948" y="734760"/>
                    <a:pt x="211592" y="734760"/>
                  </a:cubicBezTo>
                  <a:cubicBezTo>
                    <a:pt x="299236" y="734760"/>
                    <a:pt x="370286" y="663710"/>
                    <a:pt x="370286" y="576066"/>
                  </a:cubicBezTo>
                  <a:cubicBezTo>
                    <a:pt x="370286" y="488422"/>
                    <a:pt x="299236" y="417372"/>
                    <a:pt x="211592" y="417372"/>
                  </a:cubicBezTo>
                  <a:cubicBezTo>
                    <a:pt x="123948" y="417372"/>
                    <a:pt x="52898" y="488422"/>
                    <a:pt x="52898" y="576066"/>
                  </a:cubicBezTo>
                  <a:close/>
                  <a:moveTo>
                    <a:pt x="52898" y="936132"/>
                  </a:moveTo>
                  <a:cubicBezTo>
                    <a:pt x="52898" y="1023776"/>
                    <a:pt x="123948" y="1094826"/>
                    <a:pt x="211592" y="1094826"/>
                  </a:cubicBezTo>
                  <a:cubicBezTo>
                    <a:pt x="299236" y="1094826"/>
                    <a:pt x="370286" y="1023776"/>
                    <a:pt x="370286" y="936132"/>
                  </a:cubicBezTo>
                  <a:cubicBezTo>
                    <a:pt x="370286" y="848488"/>
                    <a:pt x="299236" y="777438"/>
                    <a:pt x="211592" y="777438"/>
                  </a:cubicBezTo>
                  <a:cubicBezTo>
                    <a:pt x="123948" y="777438"/>
                    <a:pt x="52898" y="848488"/>
                    <a:pt x="52898" y="936132"/>
                  </a:cubicBezTo>
                  <a:close/>
                  <a:moveTo>
                    <a:pt x="0" y="1082937"/>
                  </a:moveTo>
                  <a:lnTo>
                    <a:pt x="0" y="72001"/>
                  </a:lnTo>
                  <a:cubicBezTo>
                    <a:pt x="0" y="32236"/>
                    <a:pt x="32236" y="0"/>
                    <a:pt x="72001" y="0"/>
                  </a:cubicBezTo>
                  <a:lnTo>
                    <a:pt x="359999" y="0"/>
                  </a:lnTo>
                  <a:cubicBezTo>
                    <a:pt x="399764" y="0"/>
                    <a:pt x="432000" y="32236"/>
                    <a:pt x="432000" y="72001"/>
                  </a:cubicBezTo>
                  <a:lnTo>
                    <a:pt x="432000" y="1082937"/>
                  </a:lnTo>
                  <a:cubicBezTo>
                    <a:pt x="432000" y="1122702"/>
                    <a:pt x="399764" y="1154938"/>
                    <a:pt x="359999" y="1154938"/>
                  </a:cubicBezTo>
                  <a:lnTo>
                    <a:pt x="72001" y="1154938"/>
                  </a:lnTo>
                  <a:cubicBezTo>
                    <a:pt x="32236" y="1154938"/>
                    <a:pt x="0" y="1122702"/>
                    <a:pt x="0" y="108293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FFFF">
                    <a:shade val="30000"/>
                    <a:satMod val="11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6350">
              <a:noFill/>
              <a:round/>
              <a:headEnd/>
              <a:tailEnd/>
            </a:ln>
            <a:effectLst>
              <a:outerShdw blurRad="127000" algn="ctr" rotWithShape="0">
                <a:prstClr val="black">
                  <a:alpha val="35000"/>
                </a:prstClr>
              </a:outerShdw>
            </a:effectLst>
            <a:scene3d>
              <a:camera prst="orthographicFront"/>
              <a:lightRig rig="threePt" dir="t"/>
            </a:scene3d>
            <a:sp3d prstMaterial="metal">
              <a:bevelT w="25400" h="25400" prst="coolSlant"/>
            </a:sp3d>
          </p:spPr>
          <p:txBody>
            <a:bodyPr rtlCol="0" anchor="ctr"/>
            <a:lstStyle/>
            <a:p>
              <a:pPr algn="ctr" defTabSz="914309"/>
              <a:endParaRPr lang="en-GB" sz="1900" dirty="0">
                <a:solidFill>
                  <a:prstClr val="black"/>
                </a:solidFill>
              </a:endParaRPr>
            </a:p>
          </p:txBody>
        </p:sp>
        <p:sp>
          <p:nvSpPr>
            <p:cNvPr id="87" name="Ellipse 52">
              <a:extLst>
                <a:ext uri="{FF2B5EF4-FFF2-40B4-BE49-F238E27FC236}">
                  <a16:creationId xmlns:a16="http://schemas.microsoft.com/office/drawing/2014/main" id="{38EE71E0-FDE8-3C44-A801-C8242625FD86}"/>
                </a:ext>
              </a:extLst>
            </p:cNvPr>
            <p:cNvSpPr/>
            <p:nvPr/>
          </p:nvSpPr>
          <p:spPr bwMode="gray">
            <a:xfrm>
              <a:off x="12481579" y="407796"/>
              <a:ext cx="243695" cy="243695"/>
            </a:xfrm>
            <a:prstGeom prst="ellipse">
              <a:avLst/>
            </a:prstGeom>
            <a:solidFill>
              <a:srgbClr val="FFC000"/>
            </a:solidFill>
            <a:ln w="6350">
              <a:solidFill>
                <a:srgbClr val="AFAFAF"/>
              </a:solidFill>
              <a:round/>
              <a:headEnd/>
              <a:tailEnd/>
            </a:ln>
            <a:effectLst>
              <a:glow rad="63500">
                <a:srgbClr val="FFC000">
                  <a:alpha val="50000"/>
                </a:srgbClr>
              </a:glow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GB" sz="19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61" name="Gruppierung 50">
            <a:extLst>
              <a:ext uri="{FF2B5EF4-FFF2-40B4-BE49-F238E27FC236}">
                <a16:creationId xmlns:a16="http://schemas.microsoft.com/office/drawing/2014/main" id="{196187B1-052C-9A4A-B22E-7A4782B69FE2}"/>
              </a:ext>
            </a:extLst>
          </p:cNvPr>
          <p:cNvGrpSpPr/>
          <p:nvPr/>
        </p:nvGrpSpPr>
        <p:grpSpPr>
          <a:xfrm>
            <a:off x="7541013" y="1743096"/>
            <a:ext cx="331696" cy="886776"/>
            <a:chOff x="13303165" y="83522"/>
            <a:chExt cx="331696" cy="886776"/>
          </a:xfrm>
        </p:grpSpPr>
        <p:sp>
          <p:nvSpPr>
            <p:cNvPr id="63" name="Ellipse 36">
              <a:extLst>
                <a:ext uri="{FF2B5EF4-FFF2-40B4-BE49-F238E27FC236}">
                  <a16:creationId xmlns:a16="http://schemas.microsoft.com/office/drawing/2014/main" id="{71CA9BFC-1E63-E743-A757-4C9EE8CA2DC3}"/>
                </a:ext>
              </a:extLst>
            </p:cNvPr>
            <p:cNvSpPr/>
            <p:nvPr/>
          </p:nvSpPr>
          <p:spPr bwMode="gray">
            <a:xfrm>
              <a:off x="13343781" y="128600"/>
              <a:ext cx="243695" cy="24369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6350">
              <a:solidFill>
                <a:srgbClr val="AFAFAF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64" name="Ellipse 37">
              <a:extLst>
                <a:ext uri="{FF2B5EF4-FFF2-40B4-BE49-F238E27FC236}">
                  <a16:creationId xmlns:a16="http://schemas.microsoft.com/office/drawing/2014/main" id="{EB698666-8600-734A-9B52-7BC87BBF0BB3}"/>
                </a:ext>
              </a:extLst>
            </p:cNvPr>
            <p:cNvSpPr/>
            <p:nvPr/>
          </p:nvSpPr>
          <p:spPr bwMode="gray">
            <a:xfrm>
              <a:off x="13343781" y="405063"/>
              <a:ext cx="243695" cy="24369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16200000" scaled="1"/>
              <a:tileRect/>
            </a:gradFill>
            <a:ln w="6350">
              <a:solidFill>
                <a:srgbClr val="AFAFAF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66" name="Ellipse 67">
              <a:extLst>
                <a:ext uri="{FF2B5EF4-FFF2-40B4-BE49-F238E27FC236}">
                  <a16:creationId xmlns:a16="http://schemas.microsoft.com/office/drawing/2014/main" id="{F6A3D0C4-743C-A947-ABDE-AAC9DF25B68E}"/>
                </a:ext>
              </a:extLst>
            </p:cNvPr>
            <p:cNvSpPr/>
            <p:nvPr/>
          </p:nvSpPr>
          <p:spPr bwMode="gray">
            <a:xfrm>
              <a:off x="13303165" y="83522"/>
              <a:ext cx="331696" cy="886776"/>
            </a:xfrm>
            <a:custGeom>
              <a:avLst/>
              <a:gdLst/>
              <a:ahLst/>
              <a:cxnLst/>
              <a:rect l="l" t="t" r="r" b="b"/>
              <a:pathLst>
                <a:path w="432000" h="1154938">
                  <a:moveTo>
                    <a:pt x="52898" y="216000"/>
                  </a:moveTo>
                  <a:cubicBezTo>
                    <a:pt x="52898" y="303644"/>
                    <a:pt x="123948" y="374694"/>
                    <a:pt x="211592" y="374694"/>
                  </a:cubicBezTo>
                  <a:cubicBezTo>
                    <a:pt x="299236" y="374694"/>
                    <a:pt x="370286" y="303644"/>
                    <a:pt x="370286" y="216000"/>
                  </a:cubicBezTo>
                  <a:cubicBezTo>
                    <a:pt x="370286" y="128356"/>
                    <a:pt x="299236" y="57306"/>
                    <a:pt x="211592" y="57306"/>
                  </a:cubicBezTo>
                  <a:cubicBezTo>
                    <a:pt x="123948" y="57306"/>
                    <a:pt x="52898" y="128356"/>
                    <a:pt x="52898" y="216000"/>
                  </a:cubicBezTo>
                  <a:close/>
                  <a:moveTo>
                    <a:pt x="52898" y="576066"/>
                  </a:moveTo>
                  <a:cubicBezTo>
                    <a:pt x="52898" y="663710"/>
                    <a:pt x="123948" y="734760"/>
                    <a:pt x="211592" y="734760"/>
                  </a:cubicBezTo>
                  <a:cubicBezTo>
                    <a:pt x="299236" y="734760"/>
                    <a:pt x="370286" y="663710"/>
                    <a:pt x="370286" y="576066"/>
                  </a:cubicBezTo>
                  <a:cubicBezTo>
                    <a:pt x="370286" y="488422"/>
                    <a:pt x="299236" y="417372"/>
                    <a:pt x="211592" y="417372"/>
                  </a:cubicBezTo>
                  <a:cubicBezTo>
                    <a:pt x="123948" y="417372"/>
                    <a:pt x="52898" y="488422"/>
                    <a:pt x="52898" y="576066"/>
                  </a:cubicBezTo>
                  <a:close/>
                  <a:moveTo>
                    <a:pt x="52898" y="936132"/>
                  </a:moveTo>
                  <a:cubicBezTo>
                    <a:pt x="52898" y="1023776"/>
                    <a:pt x="123948" y="1094826"/>
                    <a:pt x="211592" y="1094826"/>
                  </a:cubicBezTo>
                  <a:cubicBezTo>
                    <a:pt x="299236" y="1094826"/>
                    <a:pt x="370286" y="1023776"/>
                    <a:pt x="370286" y="936132"/>
                  </a:cubicBezTo>
                  <a:cubicBezTo>
                    <a:pt x="370286" y="848488"/>
                    <a:pt x="299236" y="777438"/>
                    <a:pt x="211592" y="777438"/>
                  </a:cubicBezTo>
                  <a:cubicBezTo>
                    <a:pt x="123948" y="777438"/>
                    <a:pt x="52898" y="848488"/>
                    <a:pt x="52898" y="936132"/>
                  </a:cubicBezTo>
                  <a:close/>
                  <a:moveTo>
                    <a:pt x="0" y="1082937"/>
                  </a:moveTo>
                  <a:lnTo>
                    <a:pt x="0" y="72001"/>
                  </a:lnTo>
                  <a:cubicBezTo>
                    <a:pt x="0" y="32236"/>
                    <a:pt x="32236" y="0"/>
                    <a:pt x="72001" y="0"/>
                  </a:cubicBezTo>
                  <a:lnTo>
                    <a:pt x="359999" y="0"/>
                  </a:lnTo>
                  <a:cubicBezTo>
                    <a:pt x="399764" y="0"/>
                    <a:pt x="432000" y="32236"/>
                    <a:pt x="432000" y="72001"/>
                  </a:cubicBezTo>
                  <a:lnTo>
                    <a:pt x="432000" y="1082937"/>
                  </a:lnTo>
                  <a:cubicBezTo>
                    <a:pt x="432000" y="1122702"/>
                    <a:pt x="399764" y="1154938"/>
                    <a:pt x="359999" y="1154938"/>
                  </a:cubicBezTo>
                  <a:lnTo>
                    <a:pt x="72001" y="1154938"/>
                  </a:lnTo>
                  <a:cubicBezTo>
                    <a:pt x="32236" y="1154938"/>
                    <a:pt x="0" y="1122702"/>
                    <a:pt x="0" y="108293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FFFF">
                    <a:shade val="30000"/>
                    <a:satMod val="11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6350">
              <a:noFill/>
              <a:round/>
              <a:headEnd/>
              <a:tailEnd/>
            </a:ln>
            <a:effectLst>
              <a:outerShdw blurRad="127000" algn="ctr" rotWithShape="0">
                <a:prstClr val="black">
                  <a:alpha val="35000"/>
                </a:prstClr>
              </a:outerShdw>
            </a:effectLst>
            <a:scene3d>
              <a:camera prst="orthographicFront"/>
              <a:lightRig rig="threePt" dir="t"/>
            </a:scene3d>
            <a:sp3d prstMaterial="metal">
              <a:bevelT w="25400" h="25400" prst="coolSlant"/>
            </a:sp3d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67" name="Ellipse 38">
              <a:extLst>
                <a:ext uri="{FF2B5EF4-FFF2-40B4-BE49-F238E27FC236}">
                  <a16:creationId xmlns:a16="http://schemas.microsoft.com/office/drawing/2014/main" id="{AE227CD8-96A0-6F40-AB75-EE684D80FE00}"/>
                </a:ext>
              </a:extLst>
            </p:cNvPr>
            <p:cNvSpPr/>
            <p:nvPr/>
          </p:nvSpPr>
          <p:spPr bwMode="gray">
            <a:xfrm>
              <a:off x="13343781" y="681526"/>
              <a:ext cx="243695" cy="243695"/>
            </a:xfrm>
            <a:prstGeom prst="ellipse">
              <a:avLst/>
            </a:prstGeom>
            <a:solidFill>
              <a:srgbClr val="92D050"/>
            </a:solidFill>
            <a:ln w="6350">
              <a:solidFill>
                <a:srgbClr val="AFAFAF"/>
              </a:solidFill>
              <a:round/>
              <a:headEnd/>
              <a:tailEnd/>
            </a:ln>
            <a:effectLst>
              <a:glow rad="63500">
                <a:srgbClr val="92D050">
                  <a:alpha val="50000"/>
                </a:srgbClr>
              </a:glow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</p:grpSp>
      <p:pic>
        <p:nvPicPr>
          <p:cNvPr id="59" name="Bild 7" descr="paricon_logo.png">
            <a:extLst>
              <a:ext uri="{FF2B5EF4-FFF2-40B4-BE49-F238E27FC236}">
                <a16:creationId xmlns:a16="http://schemas.microsoft.com/office/drawing/2014/main" id="{AB6585CB-B45D-4758-B924-E4CD74B8F5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6737" y="2247"/>
            <a:ext cx="694276" cy="327710"/>
          </a:xfrm>
          <a:prstGeom prst="rect">
            <a:avLst/>
          </a:prstGeom>
        </p:spPr>
      </p:pic>
      <p:pic>
        <p:nvPicPr>
          <p:cNvPr id="3" name="Picture 2" descr="A drawing of a person&#10;&#10;Description automatically generated">
            <a:extLst>
              <a:ext uri="{FF2B5EF4-FFF2-40B4-BE49-F238E27FC236}">
                <a16:creationId xmlns:a16="http://schemas.microsoft.com/office/drawing/2014/main" id="{0DF41AD8-3178-43D9-A830-6676436DF40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4" y="0"/>
            <a:ext cx="326571" cy="34279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3380738-615C-430F-A07B-9AC660B076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27176" y="216724"/>
            <a:ext cx="1486952" cy="1225443"/>
          </a:xfrm>
          <a:prstGeom prst="rect">
            <a:avLst/>
          </a:prstGeom>
        </p:spPr>
      </p:pic>
      <p:grpSp>
        <p:nvGrpSpPr>
          <p:cNvPr id="57" name="Gruppierung 71">
            <a:extLst>
              <a:ext uri="{FF2B5EF4-FFF2-40B4-BE49-F238E27FC236}">
                <a16:creationId xmlns:a16="http://schemas.microsoft.com/office/drawing/2014/main" id="{4D3FE2EF-359F-460E-AFA5-0ACC6A72638D}"/>
              </a:ext>
            </a:extLst>
          </p:cNvPr>
          <p:cNvGrpSpPr/>
          <p:nvPr/>
        </p:nvGrpSpPr>
        <p:grpSpPr>
          <a:xfrm>
            <a:off x="10000549" y="1745856"/>
            <a:ext cx="331696" cy="886776"/>
            <a:chOff x="12440963" y="86253"/>
            <a:chExt cx="331696" cy="886776"/>
          </a:xfrm>
        </p:grpSpPr>
        <p:sp>
          <p:nvSpPr>
            <p:cNvPr id="58" name="Ellipse 46">
              <a:extLst>
                <a:ext uri="{FF2B5EF4-FFF2-40B4-BE49-F238E27FC236}">
                  <a16:creationId xmlns:a16="http://schemas.microsoft.com/office/drawing/2014/main" id="{0B3B4592-0BE1-45FA-B1B8-05E39BC7896C}"/>
                </a:ext>
              </a:extLst>
            </p:cNvPr>
            <p:cNvSpPr/>
            <p:nvPr/>
          </p:nvSpPr>
          <p:spPr bwMode="gray">
            <a:xfrm>
              <a:off x="12481579" y="131333"/>
              <a:ext cx="243695" cy="24369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6350">
              <a:solidFill>
                <a:srgbClr val="AFAFAF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GB" sz="1900" dirty="0">
                <a:solidFill>
                  <a:prstClr val="black"/>
                </a:solidFill>
              </a:endParaRPr>
            </a:p>
          </p:txBody>
        </p:sp>
        <p:sp>
          <p:nvSpPr>
            <p:cNvPr id="76" name="Ellipse 53">
              <a:extLst>
                <a:ext uri="{FF2B5EF4-FFF2-40B4-BE49-F238E27FC236}">
                  <a16:creationId xmlns:a16="http://schemas.microsoft.com/office/drawing/2014/main" id="{818CBC99-1221-449E-B208-5D8003B765C8}"/>
                </a:ext>
              </a:extLst>
            </p:cNvPr>
            <p:cNvSpPr/>
            <p:nvPr/>
          </p:nvSpPr>
          <p:spPr bwMode="gray">
            <a:xfrm>
              <a:off x="12481579" y="684259"/>
              <a:ext cx="243695" cy="24369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6350">
              <a:solidFill>
                <a:srgbClr val="AFAFAF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GB" sz="1900" dirty="0">
                <a:solidFill>
                  <a:prstClr val="black"/>
                </a:solidFill>
              </a:endParaRPr>
            </a:p>
          </p:txBody>
        </p:sp>
        <p:sp>
          <p:nvSpPr>
            <p:cNvPr id="78" name="Ellipse 67">
              <a:extLst>
                <a:ext uri="{FF2B5EF4-FFF2-40B4-BE49-F238E27FC236}">
                  <a16:creationId xmlns:a16="http://schemas.microsoft.com/office/drawing/2014/main" id="{4188B1F8-34C1-4BC9-9478-4A8DE3299A48}"/>
                </a:ext>
              </a:extLst>
            </p:cNvPr>
            <p:cNvSpPr/>
            <p:nvPr/>
          </p:nvSpPr>
          <p:spPr bwMode="gray">
            <a:xfrm>
              <a:off x="12440963" y="86253"/>
              <a:ext cx="331696" cy="886776"/>
            </a:xfrm>
            <a:custGeom>
              <a:avLst/>
              <a:gdLst/>
              <a:ahLst/>
              <a:cxnLst/>
              <a:rect l="l" t="t" r="r" b="b"/>
              <a:pathLst>
                <a:path w="432000" h="1154938">
                  <a:moveTo>
                    <a:pt x="52898" y="216000"/>
                  </a:moveTo>
                  <a:cubicBezTo>
                    <a:pt x="52898" y="303644"/>
                    <a:pt x="123948" y="374694"/>
                    <a:pt x="211592" y="374694"/>
                  </a:cubicBezTo>
                  <a:cubicBezTo>
                    <a:pt x="299236" y="374694"/>
                    <a:pt x="370286" y="303644"/>
                    <a:pt x="370286" y="216000"/>
                  </a:cubicBezTo>
                  <a:cubicBezTo>
                    <a:pt x="370286" y="128356"/>
                    <a:pt x="299236" y="57306"/>
                    <a:pt x="211592" y="57306"/>
                  </a:cubicBezTo>
                  <a:cubicBezTo>
                    <a:pt x="123948" y="57306"/>
                    <a:pt x="52898" y="128356"/>
                    <a:pt x="52898" y="216000"/>
                  </a:cubicBezTo>
                  <a:close/>
                  <a:moveTo>
                    <a:pt x="52898" y="576066"/>
                  </a:moveTo>
                  <a:cubicBezTo>
                    <a:pt x="52898" y="663710"/>
                    <a:pt x="123948" y="734760"/>
                    <a:pt x="211592" y="734760"/>
                  </a:cubicBezTo>
                  <a:cubicBezTo>
                    <a:pt x="299236" y="734760"/>
                    <a:pt x="370286" y="663710"/>
                    <a:pt x="370286" y="576066"/>
                  </a:cubicBezTo>
                  <a:cubicBezTo>
                    <a:pt x="370286" y="488422"/>
                    <a:pt x="299236" y="417372"/>
                    <a:pt x="211592" y="417372"/>
                  </a:cubicBezTo>
                  <a:cubicBezTo>
                    <a:pt x="123948" y="417372"/>
                    <a:pt x="52898" y="488422"/>
                    <a:pt x="52898" y="576066"/>
                  </a:cubicBezTo>
                  <a:close/>
                  <a:moveTo>
                    <a:pt x="52898" y="936132"/>
                  </a:moveTo>
                  <a:cubicBezTo>
                    <a:pt x="52898" y="1023776"/>
                    <a:pt x="123948" y="1094826"/>
                    <a:pt x="211592" y="1094826"/>
                  </a:cubicBezTo>
                  <a:cubicBezTo>
                    <a:pt x="299236" y="1094826"/>
                    <a:pt x="370286" y="1023776"/>
                    <a:pt x="370286" y="936132"/>
                  </a:cubicBezTo>
                  <a:cubicBezTo>
                    <a:pt x="370286" y="848488"/>
                    <a:pt x="299236" y="777438"/>
                    <a:pt x="211592" y="777438"/>
                  </a:cubicBezTo>
                  <a:cubicBezTo>
                    <a:pt x="123948" y="777438"/>
                    <a:pt x="52898" y="848488"/>
                    <a:pt x="52898" y="936132"/>
                  </a:cubicBezTo>
                  <a:close/>
                  <a:moveTo>
                    <a:pt x="0" y="1082937"/>
                  </a:moveTo>
                  <a:lnTo>
                    <a:pt x="0" y="72001"/>
                  </a:lnTo>
                  <a:cubicBezTo>
                    <a:pt x="0" y="32236"/>
                    <a:pt x="32236" y="0"/>
                    <a:pt x="72001" y="0"/>
                  </a:cubicBezTo>
                  <a:lnTo>
                    <a:pt x="359999" y="0"/>
                  </a:lnTo>
                  <a:cubicBezTo>
                    <a:pt x="399764" y="0"/>
                    <a:pt x="432000" y="32236"/>
                    <a:pt x="432000" y="72001"/>
                  </a:cubicBezTo>
                  <a:lnTo>
                    <a:pt x="432000" y="1082937"/>
                  </a:lnTo>
                  <a:cubicBezTo>
                    <a:pt x="432000" y="1122702"/>
                    <a:pt x="399764" y="1154938"/>
                    <a:pt x="359999" y="1154938"/>
                  </a:cubicBezTo>
                  <a:lnTo>
                    <a:pt x="72001" y="1154938"/>
                  </a:lnTo>
                  <a:cubicBezTo>
                    <a:pt x="32236" y="1154938"/>
                    <a:pt x="0" y="1122702"/>
                    <a:pt x="0" y="108293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FFFF">
                    <a:shade val="30000"/>
                    <a:satMod val="11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6350">
              <a:noFill/>
              <a:round/>
              <a:headEnd/>
              <a:tailEnd/>
            </a:ln>
            <a:effectLst>
              <a:outerShdw blurRad="127000" algn="ctr" rotWithShape="0">
                <a:prstClr val="black">
                  <a:alpha val="35000"/>
                </a:prstClr>
              </a:outerShdw>
            </a:effectLst>
            <a:scene3d>
              <a:camera prst="orthographicFront"/>
              <a:lightRig rig="threePt" dir="t"/>
            </a:scene3d>
            <a:sp3d prstMaterial="metal">
              <a:bevelT w="25400" h="25400" prst="coolSlant"/>
            </a:sp3d>
          </p:spPr>
          <p:txBody>
            <a:bodyPr rtlCol="0" anchor="ctr"/>
            <a:lstStyle/>
            <a:p>
              <a:pPr algn="ctr" defTabSz="914309"/>
              <a:endParaRPr lang="en-GB" sz="1900" dirty="0">
                <a:solidFill>
                  <a:prstClr val="black"/>
                </a:solidFill>
              </a:endParaRPr>
            </a:p>
          </p:txBody>
        </p:sp>
        <p:sp>
          <p:nvSpPr>
            <p:cNvPr id="83" name="Ellipse 52">
              <a:extLst>
                <a:ext uri="{FF2B5EF4-FFF2-40B4-BE49-F238E27FC236}">
                  <a16:creationId xmlns:a16="http://schemas.microsoft.com/office/drawing/2014/main" id="{9DE73798-F8A2-4787-A9BA-BFEF5001B370}"/>
                </a:ext>
              </a:extLst>
            </p:cNvPr>
            <p:cNvSpPr/>
            <p:nvPr/>
          </p:nvSpPr>
          <p:spPr bwMode="gray">
            <a:xfrm>
              <a:off x="12481579" y="407796"/>
              <a:ext cx="243695" cy="243695"/>
            </a:xfrm>
            <a:prstGeom prst="ellipse">
              <a:avLst/>
            </a:prstGeom>
            <a:solidFill>
              <a:srgbClr val="FFC000"/>
            </a:solidFill>
            <a:ln w="6350">
              <a:solidFill>
                <a:srgbClr val="AFAFAF"/>
              </a:solidFill>
              <a:round/>
              <a:headEnd/>
              <a:tailEnd/>
            </a:ln>
            <a:effectLst>
              <a:glow rad="63500">
                <a:srgbClr val="FFC000">
                  <a:alpha val="50000"/>
                </a:srgbClr>
              </a:glow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GB" sz="19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56" name="Gruppierung 50">
            <a:extLst>
              <a:ext uri="{FF2B5EF4-FFF2-40B4-BE49-F238E27FC236}">
                <a16:creationId xmlns:a16="http://schemas.microsoft.com/office/drawing/2014/main" id="{903A490E-A04E-4227-A276-ECA5AA458E3F}"/>
              </a:ext>
            </a:extLst>
          </p:cNvPr>
          <p:cNvGrpSpPr/>
          <p:nvPr/>
        </p:nvGrpSpPr>
        <p:grpSpPr>
          <a:xfrm>
            <a:off x="2662128" y="1749436"/>
            <a:ext cx="331696" cy="886776"/>
            <a:chOff x="13303165" y="83522"/>
            <a:chExt cx="331696" cy="886776"/>
          </a:xfrm>
        </p:grpSpPr>
        <p:sp>
          <p:nvSpPr>
            <p:cNvPr id="79" name="Ellipse 36">
              <a:extLst>
                <a:ext uri="{FF2B5EF4-FFF2-40B4-BE49-F238E27FC236}">
                  <a16:creationId xmlns:a16="http://schemas.microsoft.com/office/drawing/2014/main" id="{0546CC54-0AA7-454A-945D-7559A9A02F75}"/>
                </a:ext>
              </a:extLst>
            </p:cNvPr>
            <p:cNvSpPr/>
            <p:nvPr/>
          </p:nvSpPr>
          <p:spPr bwMode="gray">
            <a:xfrm>
              <a:off x="13343781" y="128600"/>
              <a:ext cx="243695" cy="24369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6350">
              <a:solidFill>
                <a:srgbClr val="AFAFAF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80" name="Ellipse 37">
              <a:extLst>
                <a:ext uri="{FF2B5EF4-FFF2-40B4-BE49-F238E27FC236}">
                  <a16:creationId xmlns:a16="http://schemas.microsoft.com/office/drawing/2014/main" id="{9368D2EF-598F-446A-B966-0CEEAFE251BB}"/>
                </a:ext>
              </a:extLst>
            </p:cNvPr>
            <p:cNvSpPr/>
            <p:nvPr/>
          </p:nvSpPr>
          <p:spPr bwMode="gray">
            <a:xfrm>
              <a:off x="13343781" y="405063"/>
              <a:ext cx="243695" cy="24369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16200000" scaled="1"/>
              <a:tileRect/>
            </a:gradFill>
            <a:ln w="6350">
              <a:solidFill>
                <a:srgbClr val="AFAFAF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81" name="Ellipse 67">
              <a:extLst>
                <a:ext uri="{FF2B5EF4-FFF2-40B4-BE49-F238E27FC236}">
                  <a16:creationId xmlns:a16="http://schemas.microsoft.com/office/drawing/2014/main" id="{79638C64-3223-4520-90A9-B83E063CCD10}"/>
                </a:ext>
              </a:extLst>
            </p:cNvPr>
            <p:cNvSpPr/>
            <p:nvPr/>
          </p:nvSpPr>
          <p:spPr bwMode="gray">
            <a:xfrm>
              <a:off x="13303165" y="83522"/>
              <a:ext cx="331696" cy="886776"/>
            </a:xfrm>
            <a:custGeom>
              <a:avLst/>
              <a:gdLst/>
              <a:ahLst/>
              <a:cxnLst/>
              <a:rect l="l" t="t" r="r" b="b"/>
              <a:pathLst>
                <a:path w="432000" h="1154938">
                  <a:moveTo>
                    <a:pt x="52898" y="216000"/>
                  </a:moveTo>
                  <a:cubicBezTo>
                    <a:pt x="52898" y="303644"/>
                    <a:pt x="123948" y="374694"/>
                    <a:pt x="211592" y="374694"/>
                  </a:cubicBezTo>
                  <a:cubicBezTo>
                    <a:pt x="299236" y="374694"/>
                    <a:pt x="370286" y="303644"/>
                    <a:pt x="370286" y="216000"/>
                  </a:cubicBezTo>
                  <a:cubicBezTo>
                    <a:pt x="370286" y="128356"/>
                    <a:pt x="299236" y="57306"/>
                    <a:pt x="211592" y="57306"/>
                  </a:cubicBezTo>
                  <a:cubicBezTo>
                    <a:pt x="123948" y="57306"/>
                    <a:pt x="52898" y="128356"/>
                    <a:pt x="52898" y="216000"/>
                  </a:cubicBezTo>
                  <a:close/>
                  <a:moveTo>
                    <a:pt x="52898" y="576066"/>
                  </a:moveTo>
                  <a:cubicBezTo>
                    <a:pt x="52898" y="663710"/>
                    <a:pt x="123948" y="734760"/>
                    <a:pt x="211592" y="734760"/>
                  </a:cubicBezTo>
                  <a:cubicBezTo>
                    <a:pt x="299236" y="734760"/>
                    <a:pt x="370286" y="663710"/>
                    <a:pt x="370286" y="576066"/>
                  </a:cubicBezTo>
                  <a:cubicBezTo>
                    <a:pt x="370286" y="488422"/>
                    <a:pt x="299236" y="417372"/>
                    <a:pt x="211592" y="417372"/>
                  </a:cubicBezTo>
                  <a:cubicBezTo>
                    <a:pt x="123948" y="417372"/>
                    <a:pt x="52898" y="488422"/>
                    <a:pt x="52898" y="576066"/>
                  </a:cubicBezTo>
                  <a:close/>
                  <a:moveTo>
                    <a:pt x="52898" y="936132"/>
                  </a:moveTo>
                  <a:cubicBezTo>
                    <a:pt x="52898" y="1023776"/>
                    <a:pt x="123948" y="1094826"/>
                    <a:pt x="211592" y="1094826"/>
                  </a:cubicBezTo>
                  <a:cubicBezTo>
                    <a:pt x="299236" y="1094826"/>
                    <a:pt x="370286" y="1023776"/>
                    <a:pt x="370286" y="936132"/>
                  </a:cubicBezTo>
                  <a:cubicBezTo>
                    <a:pt x="370286" y="848488"/>
                    <a:pt x="299236" y="777438"/>
                    <a:pt x="211592" y="777438"/>
                  </a:cubicBezTo>
                  <a:cubicBezTo>
                    <a:pt x="123948" y="777438"/>
                    <a:pt x="52898" y="848488"/>
                    <a:pt x="52898" y="936132"/>
                  </a:cubicBezTo>
                  <a:close/>
                  <a:moveTo>
                    <a:pt x="0" y="1082937"/>
                  </a:moveTo>
                  <a:lnTo>
                    <a:pt x="0" y="72001"/>
                  </a:lnTo>
                  <a:cubicBezTo>
                    <a:pt x="0" y="32236"/>
                    <a:pt x="32236" y="0"/>
                    <a:pt x="72001" y="0"/>
                  </a:cubicBezTo>
                  <a:lnTo>
                    <a:pt x="359999" y="0"/>
                  </a:lnTo>
                  <a:cubicBezTo>
                    <a:pt x="399764" y="0"/>
                    <a:pt x="432000" y="32236"/>
                    <a:pt x="432000" y="72001"/>
                  </a:cubicBezTo>
                  <a:lnTo>
                    <a:pt x="432000" y="1082937"/>
                  </a:lnTo>
                  <a:cubicBezTo>
                    <a:pt x="432000" y="1122702"/>
                    <a:pt x="399764" y="1154938"/>
                    <a:pt x="359999" y="1154938"/>
                  </a:cubicBezTo>
                  <a:lnTo>
                    <a:pt x="72001" y="1154938"/>
                  </a:lnTo>
                  <a:cubicBezTo>
                    <a:pt x="32236" y="1154938"/>
                    <a:pt x="0" y="1122702"/>
                    <a:pt x="0" y="108293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FFFF">
                    <a:shade val="30000"/>
                    <a:satMod val="11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6350">
              <a:noFill/>
              <a:round/>
              <a:headEnd/>
              <a:tailEnd/>
            </a:ln>
            <a:effectLst>
              <a:outerShdw blurRad="127000" algn="ctr" rotWithShape="0">
                <a:prstClr val="black">
                  <a:alpha val="35000"/>
                </a:prstClr>
              </a:outerShdw>
            </a:effectLst>
            <a:scene3d>
              <a:camera prst="orthographicFront"/>
              <a:lightRig rig="threePt" dir="t"/>
            </a:scene3d>
            <a:sp3d prstMaterial="metal">
              <a:bevelT w="25400" h="25400" prst="coolSlant"/>
            </a:sp3d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82" name="Ellipse 38">
              <a:extLst>
                <a:ext uri="{FF2B5EF4-FFF2-40B4-BE49-F238E27FC236}">
                  <a16:creationId xmlns:a16="http://schemas.microsoft.com/office/drawing/2014/main" id="{4777087D-5AEB-40EB-9E50-52AF6BF06280}"/>
                </a:ext>
              </a:extLst>
            </p:cNvPr>
            <p:cNvSpPr/>
            <p:nvPr/>
          </p:nvSpPr>
          <p:spPr bwMode="gray">
            <a:xfrm>
              <a:off x="13343781" y="681526"/>
              <a:ext cx="243695" cy="243695"/>
            </a:xfrm>
            <a:prstGeom prst="ellipse">
              <a:avLst/>
            </a:prstGeom>
            <a:solidFill>
              <a:srgbClr val="92D050"/>
            </a:solidFill>
            <a:ln w="6350">
              <a:solidFill>
                <a:srgbClr val="AFAFAF"/>
              </a:solidFill>
              <a:round/>
              <a:headEnd/>
              <a:tailEnd/>
            </a:ln>
            <a:effectLst>
              <a:glow rad="63500">
                <a:srgbClr val="92D050">
                  <a:alpha val="50000"/>
                </a:srgbClr>
              </a:glow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</p:grpSp>
      <p:grpSp>
        <p:nvGrpSpPr>
          <p:cNvPr id="84" name="Gruppierung 50">
            <a:extLst>
              <a:ext uri="{FF2B5EF4-FFF2-40B4-BE49-F238E27FC236}">
                <a16:creationId xmlns:a16="http://schemas.microsoft.com/office/drawing/2014/main" id="{45369692-F2B0-47F4-B5ED-2931D4DA7674}"/>
              </a:ext>
            </a:extLst>
          </p:cNvPr>
          <p:cNvGrpSpPr/>
          <p:nvPr/>
        </p:nvGrpSpPr>
        <p:grpSpPr>
          <a:xfrm>
            <a:off x="5334897" y="1762000"/>
            <a:ext cx="331696" cy="886776"/>
            <a:chOff x="13303165" y="83522"/>
            <a:chExt cx="331696" cy="886776"/>
          </a:xfrm>
        </p:grpSpPr>
        <p:sp>
          <p:nvSpPr>
            <p:cNvPr id="85" name="Ellipse 36">
              <a:extLst>
                <a:ext uri="{FF2B5EF4-FFF2-40B4-BE49-F238E27FC236}">
                  <a16:creationId xmlns:a16="http://schemas.microsoft.com/office/drawing/2014/main" id="{B470458E-58CF-49D2-BED3-CE303B09931E}"/>
                </a:ext>
              </a:extLst>
            </p:cNvPr>
            <p:cNvSpPr/>
            <p:nvPr/>
          </p:nvSpPr>
          <p:spPr bwMode="gray">
            <a:xfrm>
              <a:off x="13343781" y="128600"/>
              <a:ext cx="243695" cy="24369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6350">
              <a:solidFill>
                <a:srgbClr val="AFAFAF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89" name="Ellipse 37">
              <a:extLst>
                <a:ext uri="{FF2B5EF4-FFF2-40B4-BE49-F238E27FC236}">
                  <a16:creationId xmlns:a16="http://schemas.microsoft.com/office/drawing/2014/main" id="{B4D7206F-18BB-4EF4-BA85-4BE0962791F2}"/>
                </a:ext>
              </a:extLst>
            </p:cNvPr>
            <p:cNvSpPr/>
            <p:nvPr/>
          </p:nvSpPr>
          <p:spPr bwMode="gray">
            <a:xfrm>
              <a:off x="13343781" y="405063"/>
              <a:ext cx="243695" cy="24369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16200000" scaled="1"/>
              <a:tileRect/>
            </a:gradFill>
            <a:ln w="6350">
              <a:solidFill>
                <a:srgbClr val="AFAFAF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90" name="Ellipse 67">
              <a:extLst>
                <a:ext uri="{FF2B5EF4-FFF2-40B4-BE49-F238E27FC236}">
                  <a16:creationId xmlns:a16="http://schemas.microsoft.com/office/drawing/2014/main" id="{85EE5752-724D-449B-9390-FCA5503C8C8A}"/>
                </a:ext>
              </a:extLst>
            </p:cNvPr>
            <p:cNvSpPr/>
            <p:nvPr/>
          </p:nvSpPr>
          <p:spPr bwMode="gray">
            <a:xfrm>
              <a:off x="13303165" y="83522"/>
              <a:ext cx="331696" cy="886776"/>
            </a:xfrm>
            <a:custGeom>
              <a:avLst/>
              <a:gdLst/>
              <a:ahLst/>
              <a:cxnLst/>
              <a:rect l="l" t="t" r="r" b="b"/>
              <a:pathLst>
                <a:path w="432000" h="1154938">
                  <a:moveTo>
                    <a:pt x="52898" y="216000"/>
                  </a:moveTo>
                  <a:cubicBezTo>
                    <a:pt x="52898" y="303644"/>
                    <a:pt x="123948" y="374694"/>
                    <a:pt x="211592" y="374694"/>
                  </a:cubicBezTo>
                  <a:cubicBezTo>
                    <a:pt x="299236" y="374694"/>
                    <a:pt x="370286" y="303644"/>
                    <a:pt x="370286" y="216000"/>
                  </a:cubicBezTo>
                  <a:cubicBezTo>
                    <a:pt x="370286" y="128356"/>
                    <a:pt x="299236" y="57306"/>
                    <a:pt x="211592" y="57306"/>
                  </a:cubicBezTo>
                  <a:cubicBezTo>
                    <a:pt x="123948" y="57306"/>
                    <a:pt x="52898" y="128356"/>
                    <a:pt x="52898" y="216000"/>
                  </a:cubicBezTo>
                  <a:close/>
                  <a:moveTo>
                    <a:pt x="52898" y="576066"/>
                  </a:moveTo>
                  <a:cubicBezTo>
                    <a:pt x="52898" y="663710"/>
                    <a:pt x="123948" y="734760"/>
                    <a:pt x="211592" y="734760"/>
                  </a:cubicBezTo>
                  <a:cubicBezTo>
                    <a:pt x="299236" y="734760"/>
                    <a:pt x="370286" y="663710"/>
                    <a:pt x="370286" y="576066"/>
                  </a:cubicBezTo>
                  <a:cubicBezTo>
                    <a:pt x="370286" y="488422"/>
                    <a:pt x="299236" y="417372"/>
                    <a:pt x="211592" y="417372"/>
                  </a:cubicBezTo>
                  <a:cubicBezTo>
                    <a:pt x="123948" y="417372"/>
                    <a:pt x="52898" y="488422"/>
                    <a:pt x="52898" y="576066"/>
                  </a:cubicBezTo>
                  <a:close/>
                  <a:moveTo>
                    <a:pt x="52898" y="936132"/>
                  </a:moveTo>
                  <a:cubicBezTo>
                    <a:pt x="52898" y="1023776"/>
                    <a:pt x="123948" y="1094826"/>
                    <a:pt x="211592" y="1094826"/>
                  </a:cubicBezTo>
                  <a:cubicBezTo>
                    <a:pt x="299236" y="1094826"/>
                    <a:pt x="370286" y="1023776"/>
                    <a:pt x="370286" y="936132"/>
                  </a:cubicBezTo>
                  <a:cubicBezTo>
                    <a:pt x="370286" y="848488"/>
                    <a:pt x="299236" y="777438"/>
                    <a:pt x="211592" y="777438"/>
                  </a:cubicBezTo>
                  <a:cubicBezTo>
                    <a:pt x="123948" y="777438"/>
                    <a:pt x="52898" y="848488"/>
                    <a:pt x="52898" y="936132"/>
                  </a:cubicBezTo>
                  <a:close/>
                  <a:moveTo>
                    <a:pt x="0" y="1082937"/>
                  </a:moveTo>
                  <a:lnTo>
                    <a:pt x="0" y="72001"/>
                  </a:lnTo>
                  <a:cubicBezTo>
                    <a:pt x="0" y="32236"/>
                    <a:pt x="32236" y="0"/>
                    <a:pt x="72001" y="0"/>
                  </a:cubicBezTo>
                  <a:lnTo>
                    <a:pt x="359999" y="0"/>
                  </a:lnTo>
                  <a:cubicBezTo>
                    <a:pt x="399764" y="0"/>
                    <a:pt x="432000" y="32236"/>
                    <a:pt x="432000" y="72001"/>
                  </a:cubicBezTo>
                  <a:lnTo>
                    <a:pt x="432000" y="1082937"/>
                  </a:lnTo>
                  <a:cubicBezTo>
                    <a:pt x="432000" y="1122702"/>
                    <a:pt x="399764" y="1154938"/>
                    <a:pt x="359999" y="1154938"/>
                  </a:cubicBezTo>
                  <a:lnTo>
                    <a:pt x="72001" y="1154938"/>
                  </a:lnTo>
                  <a:cubicBezTo>
                    <a:pt x="32236" y="1154938"/>
                    <a:pt x="0" y="1122702"/>
                    <a:pt x="0" y="108293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FFFF">
                    <a:shade val="30000"/>
                    <a:satMod val="11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6350">
              <a:noFill/>
              <a:round/>
              <a:headEnd/>
              <a:tailEnd/>
            </a:ln>
            <a:effectLst>
              <a:outerShdw blurRad="127000" algn="ctr" rotWithShape="0">
                <a:prstClr val="black">
                  <a:alpha val="35000"/>
                </a:prstClr>
              </a:outerShdw>
            </a:effectLst>
            <a:scene3d>
              <a:camera prst="orthographicFront"/>
              <a:lightRig rig="threePt" dir="t"/>
            </a:scene3d>
            <a:sp3d prstMaterial="metal">
              <a:bevelT w="25400" h="25400" prst="coolSlant"/>
            </a:sp3d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91" name="Ellipse 38">
              <a:extLst>
                <a:ext uri="{FF2B5EF4-FFF2-40B4-BE49-F238E27FC236}">
                  <a16:creationId xmlns:a16="http://schemas.microsoft.com/office/drawing/2014/main" id="{686750A3-27CE-4DB3-A35E-3623E6901BF0}"/>
                </a:ext>
              </a:extLst>
            </p:cNvPr>
            <p:cNvSpPr/>
            <p:nvPr/>
          </p:nvSpPr>
          <p:spPr bwMode="gray">
            <a:xfrm>
              <a:off x="13343781" y="681526"/>
              <a:ext cx="243695" cy="243695"/>
            </a:xfrm>
            <a:prstGeom prst="ellipse">
              <a:avLst/>
            </a:prstGeom>
            <a:solidFill>
              <a:srgbClr val="92D050"/>
            </a:solidFill>
            <a:ln w="6350">
              <a:solidFill>
                <a:srgbClr val="AFAFAF"/>
              </a:solidFill>
              <a:round/>
              <a:headEnd/>
              <a:tailEnd/>
            </a:ln>
            <a:effectLst>
              <a:glow rad="63500">
                <a:srgbClr val="92D050">
                  <a:alpha val="50000"/>
                </a:srgbClr>
              </a:glow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</p:grpSp>
      <p:grpSp>
        <p:nvGrpSpPr>
          <p:cNvPr id="92" name="Gruppierung 50">
            <a:extLst>
              <a:ext uri="{FF2B5EF4-FFF2-40B4-BE49-F238E27FC236}">
                <a16:creationId xmlns:a16="http://schemas.microsoft.com/office/drawing/2014/main" id="{9721CF5D-3404-49FE-85E8-707DBE5879F3}"/>
              </a:ext>
            </a:extLst>
          </p:cNvPr>
          <p:cNvGrpSpPr/>
          <p:nvPr/>
        </p:nvGrpSpPr>
        <p:grpSpPr>
          <a:xfrm>
            <a:off x="11851259" y="1739789"/>
            <a:ext cx="331696" cy="886776"/>
            <a:chOff x="13303165" y="83522"/>
            <a:chExt cx="331696" cy="886776"/>
          </a:xfrm>
        </p:grpSpPr>
        <p:sp>
          <p:nvSpPr>
            <p:cNvPr id="93" name="Ellipse 36">
              <a:extLst>
                <a:ext uri="{FF2B5EF4-FFF2-40B4-BE49-F238E27FC236}">
                  <a16:creationId xmlns:a16="http://schemas.microsoft.com/office/drawing/2014/main" id="{54057A93-35F4-4776-A942-57B63D709FAD}"/>
                </a:ext>
              </a:extLst>
            </p:cNvPr>
            <p:cNvSpPr/>
            <p:nvPr/>
          </p:nvSpPr>
          <p:spPr bwMode="gray">
            <a:xfrm>
              <a:off x="13343781" y="128600"/>
              <a:ext cx="243695" cy="24369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6350">
              <a:solidFill>
                <a:srgbClr val="AFAFAF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94" name="Ellipse 37">
              <a:extLst>
                <a:ext uri="{FF2B5EF4-FFF2-40B4-BE49-F238E27FC236}">
                  <a16:creationId xmlns:a16="http://schemas.microsoft.com/office/drawing/2014/main" id="{E35867EE-FDFE-4174-9D0D-9F94EF34466F}"/>
                </a:ext>
              </a:extLst>
            </p:cNvPr>
            <p:cNvSpPr/>
            <p:nvPr/>
          </p:nvSpPr>
          <p:spPr bwMode="gray">
            <a:xfrm>
              <a:off x="13343781" y="405063"/>
              <a:ext cx="243695" cy="24369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16200000" scaled="1"/>
              <a:tileRect/>
            </a:gradFill>
            <a:ln w="6350">
              <a:solidFill>
                <a:srgbClr val="AFAFAF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95" name="Ellipse 67">
              <a:extLst>
                <a:ext uri="{FF2B5EF4-FFF2-40B4-BE49-F238E27FC236}">
                  <a16:creationId xmlns:a16="http://schemas.microsoft.com/office/drawing/2014/main" id="{735810E3-9622-4C5B-B501-F3645A849A25}"/>
                </a:ext>
              </a:extLst>
            </p:cNvPr>
            <p:cNvSpPr/>
            <p:nvPr/>
          </p:nvSpPr>
          <p:spPr bwMode="gray">
            <a:xfrm>
              <a:off x="13303165" y="83522"/>
              <a:ext cx="331696" cy="886776"/>
            </a:xfrm>
            <a:custGeom>
              <a:avLst/>
              <a:gdLst/>
              <a:ahLst/>
              <a:cxnLst/>
              <a:rect l="l" t="t" r="r" b="b"/>
              <a:pathLst>
                <a:path w="432000" h="1154938">
                  <a:moveTo>
                    <a:pt x="52898" y="216000"/>
                  </a:moveTo>
                  <a:cubicBezTo>
                    <a:pt x="52898" y="303644"/>
                    <a:pt x="123948" y="374694"/>
                    <a:pt x="211592" y="374694"/>
                  </a:cubicBezTo>
                  <a:cubicBezTo>
                    <a:pt x="299236" y="374694"/>
                    <a:pt x="370286" y="303644"/>
                    <a:pt x="370286" y="216000"/>
                  </a:cubicBezTo>
                  <a:cubicBezTo>
                    <a:pt x="370286" y="128356"/>
                    <a:pt x="299236" y="57306"/>
                    <a:pt x="211592" y="57306"/>
                  </a:cubicBezTo>
                  <a:cubicBezTo>
                    <a:pt x="123948" y="57306"/>
                    <a:pt x="52898" y="128356"/>
                    <a:pt x="52898" y="216000"/>
                  </a:cubicBezTo>
                  <a:close/>
                  <a:moveTo>
                    <a:pt x="52898" y="576066"/>
                  </a:moveTo>
                  <a:cubicBezTo>
                    <a:pt x="52898" y="663710"/>
                    <a:pt x="123948" y="734760"/>
                    <a:pt x="211592" y="734760"/>
                  </a:cubicBezTo>
                  <a:cubicBezTo>
                    <a:pt x="299236" y="734760"/>
                    <a:pt x="370286" y="663710"/>
                    <a:pt x="370286" y="576066"/>
                  </a:cubicBezTo>
                  <a:cubicBezTo>
                    <a:pt x="370286" y="488422"/>
                    <a:pt x="299236" y="417372"/>
                    <a:pt x="211592" y="417372"/>
                  </a:cubicBezTo>
                  <a:cubicBezTo>
                    <a:pt x="123948" y="417372"/>
                    <a:pt x="52898" y="488422"/>
                    <a:pt x="52898" y="576066"/>
                  </a:cubicBezTo>
                  <a:close/>
                  <a:moveTo>
                    <a:pt x="52898" y="936132"/>
                  </a:moveTo>
                  <a:cubicBezTo>
                    <a:pt x="52898" y="1023776"/>
                    <a:pt x="123948" y="1094826"/>
                    <a:pt x="211592" y="1094826"/>
                  </a:cubicBezTo>
                  <a:cubicBezTo>
                    <a:pt x="299236" y="1094826"/>
                    <a:pt x="370286" y="1023776"/>
                    <a:pt x="370286" y="936132"/>
                  </a:cubicBezTo>
                  <a:cubicBezTo>
                    <a:pt x="370286" y="848488"/>
                    <a:pt x="299236" y="777438"/>
                    <a:pt x="211592" y="777438"/>
                  </a:cubicBezTo>
                  <a:cubicBezTo>
                    <a:pt x="123948" y="777438"/>
                    <a:pt x="52898" y="848488"/>
                    <a:pt x="52898" y="936132"/>
                  </a:cubicBezTo>
                  <a:close/>
                  <a:moveTo>
                    <a:pt x="0" y="1082937"/>
                  </a:moveTo>
                  <a:lnTo>
                    <a:pt x="0" y="72001"/>
                  </a:lnTo>
                  <a:cubicBezTo>
                    <a:pt x="0" y="32236"/>
                    <a:pt x="32236" y="0"/>
                    <a:pt x="72001" y="0"/>
                  </a:cubicBezTo>
                  <a:lnTo>
                    <a:pt x="359999" y="0"/>
                  </a:lnTo>
                  <a:cubicBezTo>
                    <a:pt x="399764" y="0"/>
                    <a:pt x="432000" y="32236"/>
                    <a:pt x="432000" y="72001"/>
                  </a:cubicBezTo>
                  <a:lnTo>
                    <a:pt x="432000" y="1082937"/>
                  </a:lnTo>
                  <a:cubicBezTo>
                    <a:pt x="432000" y="1122702"/>
                    <a:pt x="399764" y="1154938"/>
                    <a:pt x="359999" y="1154938"/>
                  </a:cubicBezTo>
                  <a:lnTo>
                    <a:pt x="72001" y="1154938"/>
                  </a:lnTo>
                  <a:cubicBezTo>
                    <a:pt x="32236" y="1154938"/>
                    <a:pt x="0" y="1122702"/>
                    <a:pt x="0" y="108293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FFFF">
                    <a:shade val="30000"/>
                    <a:satMod val="115000"/>
                  </a:srgbClr>
                </a:gs>
                <a:gs pos="50000">
                  <a:srgbClr val="FFFFFF">
                    <a:shade val="67500"/>
                    <a:satMod val="115000"/>
                  </a:srgbClr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6350">
              <a:noFill/>
              <a:round/>
              <a:headEnd/>
              <a:tailEnd/>
            </a:ln>
            <a:effectLst>
              <a:outerShdw blurRad="127000" algn="ctr" rotWithShape="0">
                <a:prstClr val="black">
                  <a:alpha val="35000"/>
                </a:prstClr>
              </a:outerShdw>
            </a:effectLst>
            <a:scene3d>
              <a:camera prst="orthographicFront"/>
              <a:lightRig rig="threePt" dir="t"/>
            </a:scene3d>
            <a:sp3d prstMaterial="metal">
              <a:bevelT w="25400" h="25400" prst="coolSlant"/>
            </a:sp3d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  <p:sp>
          <p:nvSpPr>
            <p:cNvPr id="96" name="Ellipse 38">
              <a:extLst>
                <a:ext uri="{FF2B5EF4-FFF2-40B4-BE49-F238E27FC236}">
                  <a16:creationId xmlns:a16="http://schemas.microsoft.com/office/drawing/2014/main" id="{36A187A1-15E8-4E21-867C-1E61C76B5D67}"/>
                </a:ext>
              </a:extLst>
            </p:cNvPr>
            <p:cNvSpPr/>
            <p:nvPr/>
          </p:nvSpPr>
          <p:spPr bwMode="gray">
            <a:xfrm>
              <a:off x="13343781" y="681526"/>
              <a:ext cx="243695" cy="243695"/>
            </a:xfrm>
            <a:prstGeom prst="ellipse">
              <a:avLst/>
            </a:prstGeom>
            <a:solidFill>
              <a:srgbClr val="92D050"/>
            </a:solidFill>
            <a:ln w="6350">
              <a:solidFill>
                <a:srgbClr val="AFAFAF"/>
              </a:solidFill>
              <a:round/>
              <a:headEnd/>
              <a:tailEnd/>
            </a:ln>
            <a:effectLst>
              <a:glow rad="63500">
                <a:srgbClr val="92D050">
                  <a:alpha val="50000"/>
                </a:srgbClr>
              </a:glow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algn="ctr" defTabSz="914309"/>
              <a:endParaRPr lang="en-US" sz="1900">
                <a:solidFill>
                  <a:prstClr val="black"/>
                </a:solidFill>
              </a:endParaRPr>
            </a:p>
          </p:txBody>
        </p:sp>
      </p:grpSp>
      <p:pic>
        <p:nvPicPr>
          <p:cNvPr id="97" name="Picture 52" descr="File:&lt;strong&gt;Checkbox&lt;/strong&gt;.svg">
            <a:extLst>
              <a:ext uri="{FF2B5EF4-FFF2-40B4-BE49-F238E27FC236}">
                <a16:creationId xmlns:a16="http://schemas.microsoft.com/office/drawing/2014/main" id="{30D911A1-6DA0-4257-88F9-F8152DDC0BF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1878" y="4025417"/>
            <a:ext cx="433183" cy="28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1676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27"/>
  <p:tag name="MIO_SHOW_DATE" val="True"/>
  <p:tag name="MIO_SHOW_FOOTER" val="False"/>
  <p:tag name="MIO_SHOW_PAGENUMBER" val="True"/>
  <p:tag name="MIO_AVOID_BLANK_LAYOUT" val="True"/>
  <p:tag name="MIO_CD_LAYOUT_VALID_AREA" val="False"/>
  <p:tag name="MIO_NUMBER_OF_VALID_LAYOUTS" val="28"/>
  <p:tag name="MIO_HDS" val="True"/>
  <p:tag name="MIO_EK" val="2239"/>
  <p:tag name="MIO_EKGUID" val="6acabffb-130b-40f0-b278-c085f4ae0f7e"/>
  <p:tag name="MIO_UPDATE" val="True"/>
  <p:tag name="MIO_VERSION" val="06.01.2017 13:51:44"/>
  <p:tag name="MIO_DBID" val="FD168E44-D19A-49E0-8D8E-6CA0A525F0E0"/>
  <p:tag name="MIO_LASTDOWNLOADED" val="06.01.2017 13:51:44"/>
  <p:tag name="MIO_OBJECTNAME" val="Blank_mio"/>
  <p:tag name="MIO_LASTEDITORNAME" val="Anna Seemann"/>
  <p:tag name="MIO_PRESI_FIRST_SLIDENUMB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ILTI Master 16:9">
  <a:themeElements>
    <a:clrScheme name="Hilti_Colors">
      <a:dk1>
        <a:sysClr val="windowText" lastClr="000000"/>
      </a:dk1>
      <a:lt1>
        <a:sysClr val="window" lastClr="FFFFFF"/>
      </a:lt1>
      <a:dk2>
        <a:srgbClr val="887F6E"/>
      </a:dk2>
      <a:lt2>
        <a:srgbClr val="D7CEBD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671A3D"/>
      </a:accent5>
      <a:accent6>
        <a:srgbClr val="D7CEBD"/>
      </a:accent6>
      <a:hlink>
        <a:srgbClr val="000000"/>
      </a:hlink>
      <a:folHlink>
        <a:srgbClr val="000000"/>
      </a:folHlink>
    </a:clrScheme>
    <a:fontScheme name="Hil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5EF614B-4346-440E-B2E6-218291B7BB97}" vid="{1838B0C3-EBC2-4F22-9AA4-0FAC481F24B1}"/>
    </a:ext>
  </a:extLst>
</a:theme>
</file>

<file path=ppt/theme/theme2.xml><?xml version="1.0" encoding="utf-8"?>
<a:theme xmlns:a="http://schemas.openxmlformats.org/drawingml/2006/main" name="Larissa">
  <a:themeElements>
    <a:clrScheme name="Benutzerdefiniert 65">
      <a:dk1>
        <a:sysClr val="windowText" lastClr="000000"/>
      </a:dk1>
      <a:lt1>
        <a:sysClr val="window" lastClr="FFFFFF"/>
      </a:lt1>
      <a:dk2>
        <a:srgbClr val="005F96"/>
      </a:dk2>
      <a:lt2>
        <a:srgbClr val="4BACC6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671A3D"/>
      </a:accent5>
      <a:accent6>
        <a:srgbClr val="E97300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Benutzerdefiniert 65">
      <a:dk1>
        <a:sysClr val="windowText" lastClr="000000"/>
      </a:dk1>
      <a:lt1>
        <a:sysClr val="window" lastClr="FFFFFF"/>
      </a:lt1>
      <a:dk2>
        <a:srgbClr val="005F96"/>
      </a:dk2>
      <a:lt2>
        <a:srgbClr val="4BACC6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671A3D"/>
      </a:accent5>
      <a:accent6>
        <a:srgbClr val="E97300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30CE93D8737AE428D602E382A7A9E86" ma:contentTypeVersion="2" ma:contentTypeDescription="Ein neues Dokument erstellen." ma:contentTypeScope="" ma:versionID="01fd77e0402d6b06f3c8ef23f3eaa69b">
  <xsd:schema xmlns:xsd="http://www.w3.org/2001/XMLSchema" xmlns:xs="http://www.w3.org/2001/XMLSchema" xmlns:p="http://schemas.microsoft.com/office/2006/metadata/properties" xmlns:ns2="eae25845-d02d-464b-916c-4eb9d773e2fe" targetNamespace="http://schemas.microsoft.com/office/2006/metadata/properties" ma:root="true" ma:fieldsID="17f4271c4b317194b20da5503dd216ad" ns2:_="">
    <xsd:import namespace="eae25845-d02d-464b-916c-4eb9d773e2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e25845-d02d-464b-916c-4eb9d773e2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686AC41-E659-4692-A928-91365468E89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ae25845-d02d-464b-916c-4eb9d773e2f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9723F10-7608-487B-8FAA-16BB42C7509C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eae25845-d02d-464b-916c-4eb9d773e2fe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39EFCD5-AEDB-4D0B-9C6B-9764BE6C0F5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ilti_StandardTemplate</Template>
  <TotalTime>0</TotalTime>
  <Words>163</Words>
  <Application>Microsoft Office PowerPoint</Application>
  <PresentationFormat>Breitbild</PresentationFormat>
  <Paragraphs>54</Paragraphs>
  <Slides>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Arial</vt:lpstr>
      <vt:lpstr>Avenir Book</vt:lpstr>
      <vt:lpstr>Avenir Heavy</vt:lpstr>
      <vt:lpstr>Avenir Medium</vt:lpstr>
      <vt:lpstr>Wingdings</vt:lpstr>
      <vt:lpstr>HILTI Master 16:9</vt:lpstr>
      <vt:lpstr>think-cell Slide</vt:lpstr>
      <vt:lpstr>Kentivo-Paricon Weekly Status “29.10.19”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Sabine Kellermann</dc:creator>
  <cp:lastModifiedBy>Emanuel Mak</cp:lastModifiedBy>
  <cp:revision>2353</cp:revision>
  <cp:lastPrinted>2019-07-28T21:34:01Z</cp:lastPrinted>
  <dcterms:created xsi:type="dcterms:W3CDTF">2017-01-12T15:33:38Z</dcterms:created>
  <dcterms:modified xsi:type="dcterms:W3CDTF">2019-10-29T13:0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0CE93D8737AE428D602E382A7A9E86</vt:lpwstr>
  </property>
  <property fmtid="{D5CDD505-2E9C-101B-9397-08002B2CF9AE}" pid="3" name="_dlc_DocIdItemGuid">
    <vt:lpwstr>fe4fb3cd-2b6b-486f-9a98-e1156630d7a2</vt:lpwstr>
  </property>
</Properties>
</file>